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docMetadata/LabelInfo.xml" ContentType="application/vnd.ms-office.classificationlabel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changesInfos/changesInfo1.xml" ContentType="application/vnd.ms-powerpoint.changesinfo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0" r:id="rId1"/>
    <p:sldMasterId id="2147483971" r:id="rId2"/>
    <p:sldMasterId id="2147484026" r:id="rId3"/>
    <p:sldMasterId id="2147484087" r:id="rId4"/>
    <p:sldMasterId id="2147484139" r:id="rId5"/>
  </p:sldMasterIdLst>
  <p:notesMasterIdLst>
    <p:notesMasterId r:id="rId15"/>
  </p:notesMasterIdLst>
  <p:sldIdLst>
    <p:sldId id="427" r:id="rId6"/>
    <p:sldId id="2147480373" r:id="rId7"/>
    <p:sldId id="2147480354" r:id="rId8"/>
    <p:sldId id="2147480391" r:id="rId9"/>
    <p:sldId id="2147480350" r:id="rId10"/>
    <p:sldId id="2147480365" r:id="rId11"/>
    <p:sldId id="2147480366" r:id="rId12"/>
    <p:sldId id="2147480367" r:id="rId13"/>
    <p:sldId id="2147480392" r:id="rId14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05B6797-2291-483A-BD32-9D3A8238C390}">
          <p14:sldIdLst>
            <p14:sldId id="427"/>
            <p14:sldId id="2147480373"/>
          </p14:sldIdLst>
        </p14:section>
        <p14:section name="IP Access" id="{C59703F0-2518-4096-9E30-6E63DC798785}">
          <p14:sldIdLst>
            <p14:sldId id="2147480354"/>
            <p14:sldId id="2147480391"/>
            <p14:sldId id="2147480350"/>
          </p14:sldIdLst>
        </p14:section>
        <p14:section name="federated /SSO access" id="{B72D97C4-E31E-4871-A51C-809F9A9F9C01}">
          <p14:sldIdLst>
            <p14:sldId id="2147480365"/>
            <p14:sldId id="2147480366"/>
            <p14:sldId id="2147480367"/>
          </p14:sldIdLst>
        </p14:section>
        <p14:section name="error messages" id="{2E17148C-D1E6-47F6-A1DA-8322C2E7E112}">
          <p14:sldIdLst>
            <p14:sldId id="214748039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58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AE39A1C-75B9-E2A0-6D8E-A4C93F16A840}" name="Kumar, Abhinav (ELS-LOW)" initials="AK" userId="S::KUMA24@science.regn.net::31882241-f235-4719-8f04-f0815a654c74" providerId="AD"/>
  <p188:author id="{DAD06255-18E6-5E56-8749-BAFD6354A230}" name="Ghosh Roy, Anindya (ELS-FRK)" initials="G(" userId="S::ghoshroya@science.regn.net::56ebb228-5f61-4d27-bbd4-24cbd71c78fe" providerId="AD"/>
  <p188:author id="{61C5B674-B18F-C0FD-6BD0-9D61C7A1C797}" name="Stella, Martina (ELS-MIL)" initials="MS" userId="S::stellam@science.regn.net::1b7ba1e9-e30d-4138-b164-752288377536" providerId="AD"/>
  <p188:author id="{7A876276-22E3-CF42-F9E5-DCF4F914DB55}" name="Eldor, Mirit (ELS-LOW)" initials="ME" userId="S::ELDORM@science.regn.net::97dbea41-1077-44e9-ae9a-584623ca7718" providerId="AD"/>
  <p188:author id="{DFFBCC9C-2C34-7F7B-B835-554932278961}" name="Krstic, Ivan (ELS-FRK)" initials="KI" userId="S::krstici@science.regn.net::c4bca04b-20d6-471e-a1cc-7e46d9790da5" providerId="AD"/>
  <p188:author id="{92B132A3-C5BC-E4BB-4B0A-3524034D202A}" name="Engel Garcia, Paloma (ELS-MAD)" initials="PE" userId="S::ENGELGARCIAP@science.regn.net::30324273-c2d8-4ebc-a08b-22163760b674" providerId="AD"/>
  <p188:author id="{617F62D3-6D47-2EF8-E7D0-18370AF3739C}" name="van Wolven, Christiane (ELS-FRK)" initials="Cv" userId="S::WolvenC@science.regn.net::6d8434a8-6d7c-40d6-8aa9-0813f23ef412" providerId="AD"/>
  <p188:author id="{75DBFAD3-7546-1956-7DFA-EFF3AF3FDC2B}" name="Kotevic, Ivana (ELS-OXF)" initials="KI(O" userId="S::KOTEVIC1@science.regn.net::0f3f5177-e6b6-4baf-a60b-22a1721058e4" providerId="AD"/>
  <p188:author id="{2D0419D6-723D-837E-7BCC-8C00371D47C9}" name="Krstic, Ivan (ELS-FRK)" initials="IK" userId="S::KRSTICI@science.regn.net::c4bca04b-20d6-471e-a1cc-7e46d9790da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95F2A"/>
    <a:srgbClr val="2854FF"/>
    <a:srgbClr val="602398"/>
    <a:srgbClr val="FFD264"/>
    <a:srgbClr val="FA541C"/>
    <a:srgbClr val="F9541C"/>
    <a:srgbClr val="F05827"/>
    <a:srgbClr val="FFFFFF"/>
    <a:srgbClr val="F5F4ED"/>
    <a:srgbClr val="1E1E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7BD433-ACEC-41D1-BC4A-A03AAE7BD545}" v="3" dt="2026-01-30T14:33:02.382"/>
  </p1510:revLst>
</p1510:revInfo>
</file>

<file path=ppt/tableStyles.xml><?xml version="1.0" encoding="utf-8"?>
<a:tblStyleLst xmlns:a="http://schemas.openxmlformats.org/drawingml/2006/main" def="{BFEA419B-BCDB-4C27-8AB2-1E94C2BD932B}">
  <a:tblStyle styleId="{BFEA419B-BCDB-4C27-8AB2-1E94C2BD932B}" styleName="Elsevier light">
    <a:wholeTbl>
      <a:tcTxStyle>
        <a:fontRef idx="minor">
          <a:prstClr val="black"/>
        </a:fontRef>
        <a:schemeClr val="tx2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0" cmpd="sng">
              <a:solidFill>
                <a:schemeClr val="lt1"/>
              </a:solidFill>
            </a:ln>
          </a:top>
          <a:bottom>
            <a:ln w="0" cmpd="sng">
              <a:solidFill>
                <a:schemeClr val="lt1"/>
              </a:solidFill>
            </a:ln>
          </a:bottom>
          <a:insideH>
            <a:ln w="12700" cmpd="sng">
              <a:solidFill>
                <a:srgbClr val="E1DFDB"/>
              </a:solidFill>
            </a:ln>
          </a:insideH>
          <a:insideV>
            <a:ln w="0" cmpd="sng">
              <a:solidFill>
                <a:schemeClr val="lt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  <a:fill>
          <a:solidFill>
            <a:schemeClr val="lt2"/>
          </a:solidFill>
        </a:fill>
      </a:tcStyle>
    </a:band2H>
    <a:band1V>
      <a:tcStyle>
        <a:tcBdr/>
        <a:fill>
          <a:solidFill>
            <a:schemeClr val="lt2"/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tx2"/>
      </a:tcTxStyle>
      <a:tcStyle>
        <a:tcBdr/>
        <a:fill>
          <a:solidFill>
            <a:schemeClr val="l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l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0" cmpd="sng">
              <a:solidFill>
                <a:schemeClr val="l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prstClr val="black"/>
        </a:fontRef>
        <a:schemeClr val="tx2"/>
      </a:tcTxStyle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BFEA419B-BCDB-4C27-8AB2-1E94C2BD932C}" styleName="Elsevier dark">
    <a:wholeTbl>
      <a:tcTxStyle>
        <a:fontRef idx="minor">
          <a:prstClr val="white"/>
        </a:fontRef>
        <a:srgbClr val="EAE3D2"/>
      </a:tcTxStyle>
      <a:tcStyle>
        <a:tcBdr>
          <a:left>
            <a:ln w="0" cmpd="sng">
              <a:solidFill>
                <a:srgbClr val="1E1E1E"/>
              </a:solidFill>
            </a:ln>
          </a:left>
          <a:right>
            <a:ln w="0" cmpd="sng">
              <a:solidFill>
                <a:srgbClr val="1E1E1E"/>
              </a:solidFill>
            </a:ln>
          </a:right>
          <a:top>
            <a:ln w="0" cmpd="sng">
              <a:solidFill>
                <a:srgbClr val="1E1E1E"/>
              </a:solidFill>
            </a:ln>
          </a:top>
          <a:bottom>
            <a:ln w="0" cmpd="sng">
              <a:solidFill>
                <a:srgbClr val="1E1E1E"/>
              </a:solidFill>
            </a:ln>
          </a:bottom>
          <a:insideH>
            <a:ln w="12700" cmpd="sng">
              <a:solidFill>
                <a:srgbClr val="FFFFFF"/>
              </a:solidFill>
            </a:ln>
          </a:insideH>
          <a:insideV>
            <a:ln w="0" cmpd="sng">
              <a:solidFill>
                <a:srgbClr val="1E1E1E"/>
              </a:solidFill>
            </a:ln>
          </a:insideV>
        </a:tcBdr>
        <a:fill>
          <a:solidFill>
            <a:srgbClr val="1E1E1E"/>
          </a:solidFill>
        </a:fill>
      </a:tcStyle>
    </a:wholeTbl>
    <a:band1H>
      <a:tcStyle>
        <a:tcBdr/>
        <a:fill>
          <a:solidFill>
            <a:srgbClr val="1E1E1E"/>
          </a:solidFill>
        </a:fill>
      </a:tcStyle>
    </a:band1H>
    <a:band2H>
      <a:tcStyle>
        <a:tcBdr/>
        <a:fill>
          <a:solidFill>
            <a:srgbClr val="544946"/>
          </a:solidFill>
        </a:fill>
      </a:tcStyle>
    </a:band2H>
    <a:band1V>
      <a:tcStyle>
        <a:tcBdr/>
        <a:fill>
          <a:solidFill>
            <a:srgbClr val="544946"/>
          </a:solidFill>
        </a:fill>
      </a:tcStyle>
    </a:band1V>
    <a:band2V>
      <a:tcStyle>
        <a:tcBdr/>
      </a:tcStyle>
    </a:band2V>
    <a:lastCol>
      <a:tcTxStyle b="on">
        <a:fontRef idx="minor">
          <a:prstClr val="white"/>
        </a:fontRef>
        <a:srgbClr val="EAE3D2"/>
      </a:tcTxStyle>
      <a:tcStyle>
        <a:tcBdr/>
        <a:fill>
          <a:solidFill>
            <a:srgbClr val="1E1E1E"/>
          </a:solidFill>
        </a:fill>
      </a:tcStyle>
    </a:lastCol>
    <a:firstCol>
      <a:tcTxStyle b="on">
        <a:fontRef idx="minor">
          <a:prstClr val="white"/>
        </a:fontRef>
        <a:srgbClr val="EAE3D2"/>
      </a:tcTxStyle>
      <a:tcStyle>
        <a:tcBdr/>
        <a:fill>
          <a:solidFill>
            <a:srgbClr val="1E1E1E"/>
          </a:solidFill>
        </a:fill>
      </a:tcStyle>
    </a:firstCol>
    <a:lastRow>
      <a:tcTxStyle b="on">
        <a:fontRef idx="minor">
          <a:prstClr val="white"/>
        </a:fontRef>
        <a:srgbClr val="EAE3D2"/>
      </a:tcTxStyle>
      <a:tcStyle>
        <a:tcBdr>
          <a:top>
            <a:ln w="0" cmpd="sng">
              <a:solidFill>
                <a:srgbClr val="1E1E1E"/>
              </a:solidFill>
            </a:ln>
          </a:top>
        </a:tcBdr>
        <a:fill>
          <a:solidFill>
            <a:srgbClr val="1E1E1E"/>
          </a:solidFill>
        </a:fill>
      </a:tcStyle>
    </a:lastRow>
    <a:firstRow>
      <a:tcTxStyle b="on">
        <a:fontRef idx="minor">
          <a:prstClr val="white"/>
        </a:fontRef>
        <a:srgbClr val="EAE3D2"/>
      </a:tcTxStyle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2857" autoAdjust="0"/>
  </p:normalViewPr>
  <p:slideViewPr>
    <p:cSldViewPr snapToGrid="0">
      <p:cViewPr varScale="1">
        <p:scale>
          <a:sx n="131" d="100"/>
          <a:sy n="131" d="100"/>
        </p:scale>
        <p:origin x="966" y="114"/>
      </p:cViewPr>
      <p:guideLst>
        <p:guide orient="horz" pos="758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5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customXml" Target="../customXml/item2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23" Type="http://schemas.openxmlformats.org/officeDocument/2006/relationships/customXml" Target="../customXml/item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n Wolven, Christiane (ELS-FRK)" userId="6d8434a8-6d7c-40d6-8aa9-0813f23ef412" providerId="ADAL" clId="{9DBFDE72-BB68-4DEE-8196-94FDD0FF944A}"/>
    <pc:docChg chg="undo custSel addSld delSld modSld addSection delSection modSection">
      <pc:chgData name="van Wolven, Christiane (ELS-FRK)" userId="6d8434a8-6d7c-40d6-8aa9-0813f23ef412" providerId="ADAL" clId="{9DBFDE72-BB68-4DEE-8196-94FDD0FF944A}" dt="2026-01-30T14:33:02.377" v="35"/>
      <pc:docMkLst>
        <pc:docMk/>
      </pc:docMkLst>
      <pc:sldChg chg="modSp mod">
        <pc:chgData name="van Wolven, Christiane (ELS-FRK)" userId="6d8434a8-6d7c-40d6-8aa9-0813f23ef412" providerId="ADAL" clId="{9DBFDE72-BB68-4DEE-8196-94FDD0FF944A}" dt="2026-01-30T14:27:09.523" v="1" actId="6549"/>
        <pc:sldMkLst>
          <pc:docMk/>
          <pc:sldMk cId="4009688844" sldId="427"/>
        </pc:sldMkLst>
        <pc:spChg chg="mod">
          <ac:chgData name="van Wolven, Christiane (ELS-FRK)" userId="6d8434a8-6d7c-40d6-8aa9-0813f23ef412" providerId="ADAL" clId="{9DBFDE72-BB68-4DEE-8196-94FDD0FF944A}" dt="2026-01-30T14:26:49.255" v="0" actId="6549"/>
          <ac:spMkLst>
            <pc:docMk/>
            <pc:sldMk cId="4009688844" sldId="427"/>
            <ac:spMk id="3" creationId="{D0F80BF2-0E95-A32E-E9CA-43A6195AD433}"/>
          </ac:spMkLst>
        </pc:spChg>
        <pc:spChg chg="mod">
          <ac:chgData name="van Wolven, Christiane (ELS-FRK)" userId="6d8434a8-6d7c-40d6-8aa9-0813f23ef412" providerId="ADAL" clId="{9DBFDE72-BB68-4DEE-8196-94FDD0FF944A}" dt="2026-01-30T14:27:09.523" v="1" actId="6549"/>
          <ac:spMkLst>
            <pc:docMk/>
            <pc:sldMk cId="4009688844" sldId="427"/>
            <ac:spMk id="4" creationId="{911D8BD8-0236-6B4F-3CA6-F7DB113E5418}"/>
          </ac:spMkLst>
        </pc:spChg>
      </pc:sldChg>
      <pc:sldChg chg="new del">
        <pc:chgData name="van Wolven, Christiane (ELS-FRK)" userId="6d8434a8-6d7c-40d6-8aa9-0813f23ef412" providerId="ADAL" clId="{9DBFDE72-BB68-4DEE-8196-94FDD0FF944A}" dt="2026-01-30T14:28:14.860" v="13" actId="47"/>
        <pc:sldMkLst>
          <pc:docMk/>
          <pc:sldMk cId="1337057611" sldId="428"/>
        </pc:sldMkLst>
      </pc:sldChg>
      <pc:sldChg chg="add">
        <pc:chgData name="van Wolven, Christiane (ELS-FRK)" userId="6d8434a8-6d7c-40d6-8aa9-0813f23ef412" providerId="ADAL" clId="{9DBFDE72-BB68-4DEE-8196-94FDD0FF944A}" dt="2026-01-30T14:28:08.801" v="12"/>
        <pc:sldMkLst>
          <pc:docMk/>
          <pc:sldMk cId="1815129659" sldId="2147480350"/>
        </pc:sldMkLst>
      </pc:sldChg>
      <pc:sldChg chg="modSp add mod">
        <pc:chgData name="van Wolven, Christiane (ELS-FRK)" userId="6d8434a8-6d7c-40d6-8aa9-0813f23ef412" providerId="ADAL" clId="{9DBFDE72-BB68-4DEE-8196-94FDD0FF944A}" dt="2026-01-30T14:28:25.257" v="14" actId="6549"/>
        <pc:sldMkLst>
          <pc:docMk/>
          <pc:sldMk cId="4152536761" sldId="2147480354"/>
        </pc:sldMkLst>
        <pc:spChg chg="mod">
          <ac:chgData name="van Wolven, Christiane (ELS-FRK)" userId="6d8434a8-6d7c-40d6-8aa9-0813f23ef412" providerId="ADAL" clId="{9DBFDE72-BB68-4DEE-8196-94FDD0FF944A}" dt="2026-01-30T14:28:25.257" v="14" actId="6549"/>
          <ac:spMkLst>
            <pc:docMk/>
            <pc:sldMk cId="4152536761" sldId="2147480354"/>
            <ac:spMk id="3" creationId="{A0FBCA8C-DE3F-2D71-09A3-C97F8C3DF982}"/>
          </ac:spMkLst>
        </pc:spChg>
      </pc:sldChg>
      <pc:sldChg chg="add">
        <pc:chgData name="van Wolven, Christiane (ELS-FRK)" userId="6d8434a8-6d7c-40d6-8aa9-0813f23ef412" providerId="ADAL" clId="{9DBFDE72-BB68-4DEE-8196-94FDD0FF944A}" dt="2026-01-30T14:33:02.377" v="35"/>
        <pc:sldMkLst>
          <pc:docMk/>
          <pc:sldMk cId="285174881" sldId="2147480365"/>
        </pc:sldMkLst>
      </pc:sldChg>
      <pc:sldChg chg="add">
        <pc:chgData name="van Wolven, Christiane (ELS-FRK)" userId="6d8434a8-6d7c-40d6-8aa9-0813f23ef412" providerId="ADAL" clId="{9DBFDE72-BB68-4DEE-8196-94FDD0FF944A}" dt="2026-01-30T14:33:02.377" v="35"/>
        <pc:sldMkLst>
          <pc:docMk/>
          <pc:sldMk cId="946613377" sldId="2147480366"/>
        </pc:sldMkLst>
      </pc:sldChg>
      <pc:sldChg chg="add">
        <pc:chgData name="van Wolven, Christiane (ELS-FRK)" userId="6d8434a8-6d7c-40d6-8aa9-0813f23ef412" providerId="ADAL" clId="{9DBFDE72-BB68-4DEE-8196-94FDD0FF944A}" dt="2026-01-30T14:33:02.377" v="35"/>
        <pc:sldMkLst>
          <pc:docMk/>
          <pc:sldMk cId="128694289" sldId="2147480367"/>
        </pc:sldMkLst>
      </pc:sldChg>
      <pc:sldChg chg="modSp add mod">
        <pc:chgData name="van Wolven, Christiane (ELS-FRK)" userId="6d8434a8-6d7c-40d6-8aa9-0813f23ef412" providerId="ADAL" clId="{9DBFDE72-BB68-4DEE-8196-94FDD0FF944A}" dt="2026-01-30T14:31:11.704" v="26" actId="6549"/>
        <pc:sldMkLst>
          <pc:docMk/>
          <pc:sldMk cId="1812135920" sldId="2147480373"/>
        </pc:sldMkLst>
        <pc:spChg chg="mod">
          <ac:chgData name="van Wolven, Christiane (ELS-FRK)" userId="6d8434a8-6d7c-40d6-8aa9-0813f23ef412" providerId="ADAL" clId="{9DBFDE72-BB68-4DEE-8196-94FDD0FF944A}" dt="2026-01-30T14:31:11.704" v="26" actId="6549"/>
          <ac:spMkLst>
            <pc:docMk/>
            <pc:sldMk cId="1812135920" sldId="2147480373"/>
            <ac:spMk id="2" creationId="{657768A6-E0AF-822D-2379-A14B204CA5CB}"/>
          </ac:spMkLst>
        </pc:spChg>
      </pc:sldChg>
      <pc:sldChg chg="delSp modSp add mod">
        <pc:chgData name="van Wolven, Christiane (ELS-FRK)" userId="6d8434a8-6d7c-40d6-8aa9-0813f23ef412" providerId="ADAL" clId="{9DBFDE72-BB68-4DEE-8196-94FDD0FF944A}" dt="2026-01-30T14:29:04.652" v="21" actId="1076"/>
        <pc:sldMkLst>
          <pc:docMk/>
          <pc:sldMk cId="59826338" sldId="2147480391"/>
        </pc:sldMkLst>
        <pc:spChg chg="mod">
          <ac:chgData name="van Wolven, Christiane (ELS-FRK)" userId="6d8434a8-6d7c-40d6-8aa9-0813f23ef412" providerId="ADAL" clId="{9DBFDE72-BB68-4DEE-8196-94FDD0FF944A}" dt="2026-01-30T14:28:42.325" v="15" actId="6549"/>
          <ac:spMkLst>
            <pc:docMk/>
            <pc:sldMk cId="59826338" sldId="2147480391"/>
            <ac:spMk id="3" creationId="{B1266F09-6305-0C30-69F0-D5FA6EC82D02}"/>
          </ac:spMkLst>
        </pc:spChg>
        <pc:spChg chg="del">
          <ac:chgData name="van Wolven, Christiane (ELS-FRK)" userId="6d8434a8-6d7c-40d6-8aa9-0813f23ef412" providerId="ADAL" clId="{9DBFDE72-BB68-4DEE-8196-94FDD0FF944A}" dt="2026-01-30T14:28:53.409" v="17" actId="478"/>
          <ac:spMkLst>
            <pc:docMk/>
            <pc:sldMk cId="59826338" sldId="2147480391"/>
            <ac:spMk id="12" creationId="{C12B8CD2-8EE9-2E34-6344-04850CF53752}"/>
          </ac:spMkLst>
        </pc:spChg>
        <pc:picChg chg="mod">
          <ac:chgData name="van Wolven, Christiane (ELS-FRK)" userId="6d8434a8-6d7c-40d6-8aa9-0813f23ef412" providerId="ADAL" clId="{9DBFDE72-BB68-4DEE-8196-94FDD0FF944A}" dt="2026-01-30T14:29:04.652" v="21" actId="1076"/>
          <ac:picMkLst>
            <pc:docMk/>
            <pc:sldMk cId="59826338" sldId="2147480391"/>
            <ac:picMk id="4" creationId="{7353A5C4-CFA0-60A5-C181-2E6276549CB1}"/>
          </ac:picMkLst>
        </pc:picChg>
        <pc:picChg chg="del">
          <ac:chgData name="van Wolven, Christiane (ELS-FRK)" userId="6d8434a8-6d7c-40d6-8aa9-0813f23ef412" providerId="ADAL" clId="{9DBFDE72-BB68-4DEE-8196-94FDD0FF944A}" dt="2026-01-30T14:28:52.253" v="16" actId="478"/>
          <ac:picMkLst>
            <pc:docMk/>
            <pc:sldMk cId="59826338" sldId="2147480391"/>
            <ac:picMk id="6" creationId="{88C0040F-FE3E-103A-D95F-827057BFF8A8}"/>
          </ac:picMkLst>
        </pc:picChg>
        <pc:picChg chg="mod">
          <ac:chgData name="van Wolven, Christiane (ELS-FRK)" userId="6d8434a8-6d7c-40d6-8aa9-0813f23ef412" providerId="ADAL" clId="{9DBFDE72-BB68-4DEE-8196-94FDD0FF944A}" dt="2026-01-30T14:28:55.843" v="18" actId="1076"/>
          <ac:picMkLst>
            <pc:docMk/>
            <pc:sldMk cId="59826338" sldId="2147480391"/>
            <ac:picMk id="10" creationId="{8CE4D36D-307D-A75F-7BE1-DA8036DDFD76}"/>
          </ac:picMkLst>
        </pc:picChg>
        <pc:picChg chg="mod">
          <ac:chgData name="van Wolven, Christiane (ELS-FRK)" userId="6d8434a8-6d7c-40d6-8aa9-0813f23ef412" providerId="ADAL" clId="{9DBFDE72-BB68-4DEE-8196-94FDD0FF944A}" dt="2026-01-30T14:28:59.378" v="19" actId="1076"/>
          <ac:picMkLst>
            <pc:docMk/>
            <pc:sldMk cId="59826338" sldId="2147480391"/>
            <ac:picMk id="14" creationId="{D4565C8D-5EC8-4712-52F9-A76650696D53}"/>
          </ac:picMkLst>
        </pc:picChg>
      </pc:sldChg>
      <pc:sldChg chg="delSp add mod">
        <pc:chgData name="van Wolven, Christiane (ELS-FRK)" userId="6d8434a8-6d7c-40d6-8aa9-0813f23ef412" providerId="ADAL" clId="{9DBFDE72-BB68-4DEE-8196-94FDD0FF944A}" dt="2026-01-30T14:29:39.226" v="23" actId="478"/>
        <pc:sldMkLst>
          <pc:docMk/>
          <pc:sldMk cId="920398137" sldId="2147480392"/>
        </pc:sldMkLst>
        <pc:spChg chg="del">
          <ac:chgData name="van Wolven, Christiane (ELS-FRK)" userId="6d8434a8-6d7c-40d6-8aa9-0813f23ef412" providerId="ADAL" clId="{9DBFDE72-BB68-4DEE-8196-94FDD0FF944A}" dt="2026-01-30T14:29:37.835" v="22" actId="478"/>
          <ac:spMkLst>
            <pc:docMk/>
            <pc:sldMk cId="920398137" sldId="2147480392"/>
            <ac:spMk id="19" creationId="{16E4F3C2-2FB6-B177-D65D-1D333FDDB5E3}"/>
          </ac:spMkLst>
        </pc:spChg>
        <pc:picChg chg="del">
          <ac:chgData name="van Wolven, Christiane (ELS-FRK)" userId="6d8434a8-6d7c-40d6-8aa9-0813f23ef412" providerId="ADAL" clId="{9DBFDE72-BB68-4DEE-8196-94FDD0FF944A}" dt="2026-01-30T14:29:39.226" v="23" actId="478"/>
          <ac:picMkLst>
            <pc:docMk/>
            <pc:sldMk cId="920398137" sldId="2147480392"/>
            <ac:picMk id="21" creationId="{3440F0E0-406C-80F2-A95F-AF8F47AD5699}"/>
          </ac:picMkLst>
        </pc:picChg>
      </pc:sldChg>
      <pc:sldChg chg="new del">
        <pc:chgData name="van Wolven, Christiane (ELS-FRK)" userId="6d8434a8-6d7c-40d6-8aa9-0813f23ef412" providerId="ADAL" clId="{9DBFDE72-BB68-4DEE-8196-94FDD0FF944A}" dt="2026-01-30T14:31:50.326" v="30" actId="680"/>
        <pc:sldMkLst>
          <pc:docMk/>
          <pc:sldMk cId="1263308551" sldId="2147480393"/>
        </pc:sldMkLst>
      </pc:sldChg>
      <pc:sldChg chg="del">
        <pc:chgData name="van Wolven, Christiane (ELS-FRK)" userId="6d8434a8-6d7c-40d6-8aa9-0813f23ef412" providerId="ADAL" clId="{9DBFDE72-BB68-4DEE-8196-94FDD0FF944A}" dt="2026-01-30T14:27:18.496" v="5" actId="47"/>
        <pc:sldMkLst>
          <pc:docMk/>
          <pc:sldMk cId="3839236783" sldId="2147483195"/>
        </pc:sldMkLst>
      </pc:sldChg>
      <pc:sldChg chg="del">
        <pc:chgData name="van Wolven, Christiane (ELS-FRK)" userId="6d8434a8-6d7c-40d6-8aa9-0813f23ef412" providerId="ADAL" clId="{9DBFDE72-BB68-4DEE-8196-94FDD0FF944A}" dt="2026-01-30T14:27:14.288" v="2" actId="47"/>
        <pc:sldMkLst>
          <pc:docMk/>
          <pc:sldMk cId="745871120" sldId="2147483196"/>
        </pc:sldMkLst>
      </pc:sldChg>
      <pc:sldChg chg="del">
        <pc:chgData name="van Wolven, Christiane (ELS-FRK)" userId="6d8434a8-6d7c-40d6-8aa9-0813f23ef412" providerId="ADAL" clId="{9DBFDE72-BB68-4DEE-8196-94FDD0FF944A}" dt="2026-01-30T14:27:15.802" v="3" actId="47"/>
        <pc:sldMkLst>
          <pc:docMk/>
          <pc:sldMk cId="4149828605" sldId="2147483201"/>
        </pc:sldMkLst>
      </pc:sldChg>
      <pc:sldChg chg="del">
        <pc:chgData name="van Wolven, Christiane (ELS-FRK)" userId="6d8434a8-6d7c-40d6-8aa9-0813f23ef412" providerId="ADAL" clId="{9DBFDE72-BB68-4DEE-8196-94FDD0FF944A}" dt="2026-01-30T14:27:31.532" v="8" actId="47"/>
        <pc:sldMkLst>
          <pc:docMk/>
          <pc:sldMk cId="3329919569" sldId="2147483440"/>
        </pc:sldMkLst>
      </pc:sldChg>
      <pc:sldChg chg="del">
        <pc:chgData name="van Wolven, Christiane (ELS-FRK)" userId="6d8434a8-6d7c-40d6-8aa9-0813f23ef412" providerId="ADAL" clId="{9DBFDE72-BB68-4DEE-8196-94FDD0FF944A}" dt="2026-01-30T14:27:16.816" v="4" actId="47"/>
        <pc:sldMkLst>
          <pc:docMk/>
          <pc:sldMk cId="618568493" sldId="2147483456"/>
        </pc:sldMkLst>
      </pc:sldChg>
      <pc:sldChg chg="del">
        <pc:chgData name="van Wolven, Christiane (ELS-FRK)" userId="6d8434a8-6d7c-40d6-8aa9-0813f23ef412" providerId="ADAL" clId="{9DBFDE72-BB68-4DEE-8196-94FDD0FF944A}" dt="2026-01-30T14:27:34.376" v="9" actId="47"/>
        <pc:sldMkLst>
          <pc:docMk/>
          <pc:sldMk cId="2668030828" sldId="2147483457"/>
        </pc:sldMkLst>
      </pc:sldChg>
      <pc:sldChg chg="del">
        <pc:chgData name="van Wolven, Christiane (ELS-FRK)" userId="6d8434a8-6d7c-40d6-8aa9-0813f23ef412" providerId="ADAL" clId="{9DBFDE72-BB68-4DEE-8196-94FDD0FF944A}" dt="2026-01-30T14:27:20.694" v="6" actId="47"/>
        <pc:sldMkLst>
          <pc:docMk/>
          <pc:sldMk cId="3197960622" sldId="2147483458"/>
        </pc:sldMkLst>
      </pc:sldChg>
      <pc:sldChg chg="del">
        <pc:chgData name="van Wolven, Christiane (ELS-FRK)" userId="6d8434a8-6d7c-40d6-8aa9-0813f23ef412" providerId="ADAL" clId="{9DBFDE72-BB68-4DEE-8196-94FDD0FF944A}" dt="2026-01-30T14:27:29.336" v="7" actId="47"/>
        <pc:sldMkLst>
          <pc:docMk/>
          <pc:sldMk cId="2790841977" sldId="2147483459"/>
        </pc:sldMkLst>
      </pc:sldChg>
      <pc:sldMasterChg chg="delSldLayout">
        <pc:chgData name="van Wolven, Christiane (ELS-FRK)" userId="6d8434a8-6d7c-40d6-8aa9-0813f23ef412" providerId="ADAL" clId="{9DBFDE72-BB68-4DEE-8196-94FDD0FF944A}" dt="2026-01-30T14:27:34.376" v="9" actId="47"/>
        <pc:sldMasterMkLst>
          <pc:docMk/>
          <pc:sldMasterMk cId="2909976681" sldId="2147483710"/>
        </pc:sldMasterMkLst>
        <pc:sldLayoutChg chg="del">
          <pc:chgData name="van Wolven, Christiane (ELS-FRK)" userId="6d8434a8-6d7c-40d6-8aa9-0813f23ef412" providerId="ADAL" clId="{9DBFDE72-BB68-4DEE-8196-94FDD0FF944A}" dt="2026-01-30T14:27:34.376" v="9" actId="47"/>
          <pc:sldLayoutMkLst>
            <pc:docMk/>
            <pc:sldMasterMk cId="2909976681" sldId="2147483710"/>
            <pc:sldLayoutMk cId="3112572904" sldId="2147483823"/>
          </pc:sldLayoutMkLst>
        </pc:sldLayoutChg>
      </pc:sldMasterChg>
      <pc:sldMasterChg chg="delSldLayout">
        <pc:chgData name="van Wolven, Christiane (ELS-FRK)" userId="6d8434a8-6d7c-40d6-8aa9-0813f23ef412" providerId="ADAL" clId="{9DBFDE72-BB68-4DEE-8196-94FDD0FF944A}" dt="2026-01-30T14:27:31.532" v="8" actId="47"/>
        <pc:sldMasterMkLst>
          <pc:docMk/>
          <pc:sldMasterMk cId="2950211578" sldId="2147484026"/>
        </pc:sldMasterMkLst>
        <pc:sldLayoutChg chg="del">
          <pc:chgData name="van Wolven, Christiane (ELS-FRK)" userId="6d8434a8-6d7c-40d6-8aa9-0813f23ef412" providerId="ADAL" clId="{9DBFDE72-BB68-4DEE-8196-94FDD0FF944A}" dt="2026-01-30T14:27:31.532" v="8" actId="47"/>
          <pc:sldLayoutMkLst>
            <pc:docMk/>
            <pc:sldMasterMk cId="2950211578" sldId="2147484026"/>
            <pc:sldLayoutMk cId="1226302887" sldId="214748403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20F987AE-2327-E641-8F49-D43F3D323CA7}" type="datetimeFigureOut">
              <a:rPr lang="en-US" smtClean="0"/>
              <a:pPr/>
              <a:t>1/30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88C13772-551C-6945-9C91-A39EDAC19E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9972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C13772-551C-6945-9C91-A39EDAC19EDD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2381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Other Text </a:t>
            </a:r>
            <a:r>
              <a:rPr lang="de-DE" err="1"/>
              <a:t>option</a:t>
            </a:r>
            <a:r>
              <a:rPr lang="de-DE"/>
              <a:t>: „</a:t>
            </a:r>
            <a:r>
              <a:rPr lang="en-US" sz="1800">
                <a:effectLst/>
                <a:latin typeface="Segoe UI" panose="020B0502040204020203" pitchFamily="34" charset="0"/>
              </a:rPr>
              <a:t>You are required to be registered to use </a:t>
            </a:r>
            <a:r>
              <a:rPr lang="en-US" sz="1800" err="1">
                <a:effectLst/>
                <a:latin typeface="Segoe UI" panose="020B0502040204020203" pitchFamily="34" charset="0"/>
              </a:rPr>
              <a:t>Reayxs</a:t>
            </a:r>
            <a:r>
              <a:rPr lang="en-US" sz="1800">
                <a:effectLst/>
                <a:latin typeface="Segoe UI" panose="020B0502040204020203" pitchFamily="34" charset="0"/>
              </a:rPr>
              <a:t>. Login or click “Not Registered” to proceed.”</a:t>
            </a:r>
            <a:endParaRPr lang="en-US" sz="1800">
              <a:effectLst/>
              <a:latin typeface="Arial" panose="020B0604020202020204" pitchFamily="34" charset="0"/>
            </a:endParaRPr>
          </a:p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808AF0-EE14-4BBF-8523-6D7255008A23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3612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sv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sv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svg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svg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sv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svg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5.svg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5.svg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5.svg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5.svg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5.sv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5.svg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5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5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sv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sv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0.sv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abel Cover -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933D8557-708A-63F8-E3F0-46300F55EE9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481746" y="411163"/>
            <a:ext cx="3230454" cy="3889376"/>
          </a:xfrm>
          <a:custGeom>
            <a:avLst/>
            <a:gdLst>
              <a:gd name="connsiteX0" fmla="*/ 1287193 w 3289788"/>
              <a:gd name="connsiteY0" fmla="*/ 0 h 3960812"/>
              <a:gd name="connsiteX1" fmla="*/ 3289788 w 3289788"/>
              <a:gd name="connsiteY1" fmla="*/ 0 h 3960812"/>
              <a:gd name="connsiteX2" fmla="*/ 3289788 w 3289788"/>
              <a:gd name="connsiteY2" fmla="*/ 2670127 h 3960812"/>
              <a:gd name="connsiteX3" fmla="*/ 3032351 w 3289788"/>
              <a:gd name="connsiteY3" fmla="*/ 2670127 h 3960812"/>
              <a:gd name="connsiteX4" fmla="*/ 3032351 w 3289788"/>
              <a:gd name="connsiteY4" fmla="*/ 2928264 h 3960812"/>
              <a:gd name="connsiteX5" fmla="*/ 2774912 w 3289788"/>
              <a:gd name="connsiteY5" fmla="*/ 2928264 h 3960812"/>
              <a:gd name="connsiteX6" fmla="*/ 2774912 w 3289788"/>
              <a:gd name="connsiteY6" fmla="*/ 3186401 h 3960812"/>
              <a:gd name="connsiteX7" fmla="*/ 2517473 w 3289788"/>
              <a:gd name="connsiteY7" fmla="*/ 3186401 h 3960812"/>
              <a:gd name="connsiteX8" fmla="*/ 2517473 w 3289788"/>
              <a:gd name="connsiteY8" fmla="*/ 3444538 h 3960812"/>
              <a:gd name="connsiteX9" fmla="*/ 2260034 w 3289788"/>
              <a:gd name="connsiteY9" fmla="*/ 3444538 h 3960812"/>
              <a:gd name="connsiteX10" fmla="*/ 2260034 w 3289788"/>
              <a:gd name="connsiteY10" fmla="*/ 3702675 h 3960812"/>
              <a:gd name="connsiteX11" fmla="*/ 2002595 w 3289788"/>
              <a:gd name="connsiteY11" fmla="*/ 3702675 h 3960812"/>
              <a:gd name="connsiteX12" fmla="*/ 2002595 w 3289788"/>
              <a:gd name="connsiteY12" fmla="*/ 3960812 h 3960812"/>
              <a:gd name="connsiteX13" fmla="*/ 0 w 3289788"/>
              <a:gd name="connsiteY13" fmla="*/ 3960812 h 3960812"/>
              <a:gd name="connsiteX14" fmla="*/ 0 w 3289788"/>
              <a:gd name="connsiteY14" fmla="*/ 1290685 h 3960812"/>
              <a:gd name="connsiteX15" fmla="*/ 257439 w 3289788"/>
              <a:gd name="connsiteY15" fmla="*/ 1290685 h 3960812"/>
              <a:gd name="connsiteX16" fmla="*/ 257439 w 3289788"/>
              <a:gd name="connsiteY16" fmla="*/ 1032548 h 3960812"/>
              <a:gd name="connsiteX17" fmla="*/ 514878 w 3289788"/>
              <a:gd name="connsiteY17" fmla="*/ 1032548 h 3960812"/>
              <a:gd name="connsiteX18" fmla="*/ 514878 w 3289788"/>
              <a:gd name="connsiteY18" fmla="*/ 774411 h 3960812"/>
              <a:gd name="connsiteX19" fmla="*/ 772317 w 3289788"/>
              <a:gd name="connsiteY19" fmla="*/ 774411 h 3960812"/>
              <a:gd name="connsiteX20" fmla="*/ 772317 w 3289788"/>
              <a:gd name="connsiteY20" fmla="*/ 516274 h 3960812"/>
              <a:gd name="connsiteX21" fmla="*/ 1029756 w 3289788"/>
              <a:gd name="connsiteY21" fmla="*/ 516274 h 3960812"/>
              <a:gd name="connsiteX22" fmla="*/ 1029756 w 3289788"/>
              <a:gd name="connsiteY22" fmla="*/ 258137 h 3960812"/>
              <a:gd name="connsiteX23" fmla="*/ 1287193 w 3289788"/>
              <a:gd name="connsiteY23" fmla="*/ 258137 h 3960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289788" h="3960812">
                <a:moveTo>
                  <a:pt x="1287193" y="0"/>
                </a:moveTo>
                <a:lnTo>
                  <a:pt x="3289788" y="0"/>
                </a:lnTo>
                <a:lnTo>
                  <a:pt x="3289788" y="2670127"/>
                </a:lnTo>
                <a:lnTo>
                  <a:pt x="3032351" y="2670127"/>
                </a:lnTo>
                <a:lnTo>
                  <a:pt x="3032351" y="2928264"/>
                </a:lnTo>
                <a:lnTo>
                  <a:pt x="2774912" y="2928264"/>
                </a:lnTo>
                <a:lnTo>
                  <a:pt x="2774912" y="3186401"/>
                </a:lnTo>
                <a:lnTo>
                  <a:pt x="2517473" y="3186401"/>
                </a:lnTo>
                <a:lnTo>
                  <a:pt x="2517473" y="3444538"/>
                </a:lnTo>
                <a:lnTo>
                  <a:pt x="2260034" y="3444538"/>
                </a:lnTo>
                <a:lnTo>
                  <a:pt x="2260034" y="3702675"/>
                </a:lnTo>
                <a:lnTo>
                  <a:pt x="2002595" y="3702675"/>
                </a:lnTo>
                <a:lnTo>
                  <a:pt x="2002595" y="3960812"/>
                </a:lnTo>
                <a:lnTo>
                  <a:pt x="0" y="3960812"/>
                </a:lnTo>
                <a:lnTo>
                  <a:pt x="0" y="1290685"/>
                </a:lnTo>
                <a:lnTo>
                  <a:pt x="257439" y="1290685"/>
                </a:lnTo>
                <a:lnTo>
                  <a:pt x="257439" y="1032548"/>
                </a:lnTo>
                <a:lnTo>
                  <a:pt x="514878" y="1032548"/>
                </a:lnTo>
                <a:lnTo>
                  <a:pt x="514878" y="774411"/>
                </a:lnTo>
                <a:lnTo>
                  <a:pt x="772317" y="774411"/>
                </a:lnTo>
                <a:lnTo>
                  <a:pt x="772317" y="516274"/>
                </a:lnTo>
                <a:lnTo>
                  <a:pt x="1029756" y="516274"/>
                </a:lnTo>
                <a:lnTo>
                  <a:pt x="1029756" y="258137"/>
                </a:lnTo>
                <a:lnTo>
                  <a:pt x="1287193" y="25813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Insert pictur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4045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4045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B5D9AD25-48D2-8663-9649-78908323C9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4975" y="4483099"/>
            <a:ext cx="1425722" cy="469901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358931E8-9625-77F8-7BBF-076FE66C8CC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007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4" userDrawn="1">
          <p15:clr>
            <a:srgbClr val="F26B43"/>
          </p15:clr>
        </p15:guide>
        <p15:guide id="2" orient="horz" pos="518" userDrawn="1">
          <p15:clr>
            <a:srgbClr val="547EBF"/>
          </p15:clr>
        </p15:guide>
        <p15:guide id="3" orient="horz" pos="270" userDrawn="1">
          <p15:clr>
            <a:srgbClr val="547EBF"/>
          </p15:clr>
        </p15:guide>
        <p15:guide id="4" pos="272" userDrawn="1">
          <p15:clr>
            <a:srgbClr val="547EBF"/>
          </p15:clr>
        </p15:guide>
        <p15:guide id="5" orient="horz" pos="2822" userDrawn="1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ogo Cover -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918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918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sp>
        <p:nvSpPr>
          <p:cNvPr id="2" name="Picture Placeholder 29">
            <a:extLst>
              <a:ext uri="{FF2B5EF4-FFF2-40B4-BE49-F238E27FC236}">
                <a16:creationId xmlns:a16="http://schemas.microsoft.com/office/drawing/2014/main" id="{CB11B69D-F8A0-EBDF-8FDF-F6C59FB328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409628" y="411164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4" name="Picture Placeholder 29">
            <a:extLst>
              <a:ext uri="{FF2B5EF4-FFF2-40B4-BE49-F238E27FC236}">
                <a16:creationId xmlns:a16="http://schemas.microsoft.com/office/drawing/2014/main" id="{162FE58C-01D8-66F8-BE7C-FC85A10D21A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5926" y="824441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5" name="Picture Placeholder 29">
            <a:extLst>
              <a:ext uri="{FF2B5EF4-FFF2-40B4-BE49-F238E27FC236}">
                <a16:creationId xmlns:a16="http://schemas.microsoft.com/office/drawing/2014/main" id="{6557B76C-2C46-F1C3-C076-3C704E6244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622224" y="1237718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247D551-215C-3522-32F8-C9D8DCC05F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735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4" userDrawn="1">
          <p15:clr>
            <a:srgbClr val="547EBF"/>
          </p15:clr>
        </p15:guide>
        <p15:guide id="2" orient="horz" pos="2822" userDrawn="1">
          <p15:clr>
            <a:srgbClr val="547EBF"/>
          </p15:clr>
        </p15:guide>
        <p15:guide id="4" pos="272" userDrawn="1">
          <p15:clr>
            <a:srgbClr val="547EBF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abel Cover -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918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918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sp>
        <p:nvSpPr>
          <p:cNvPr id="3" name="Picture Placeholder 19">
            <a:extLst>
              <a:ext uri="{FF2B5EF4-FFF2-40B4-BE49-F238E27FC236}">
                <a16:creationId xmlns:a16="http://schemas.microsoft.com/office/drawing/2014/main" id="{225CEF58-569D-9BFC-90A5-8CD7AAA050F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028600" y="411164"/>
            <a:ext cx="3682128" cy="3924299"/>
          </a:xfrm>
          <a:custGeom>
            <a:avLst/>
            <a:gdLst>
              <a:gd name="connsiteX0" fmla="*/ 0 w 4171131"/>
              <a:gd name="connsiteY0" fmla="*/ 1 h 4445464"/>
              <a:gd name="connsiteX1" fmla="*/ 943908 w 4171131"/>
              <a:gd name="connsiteY1" fmla="*/ 569527 h 4445464"/>
              <a:gd name="connsiteX2" fmla="*/ 943908 w 4171131"/>
              <a:gd name="connsiteY2" fmla="*/ 3875937 h 4445464"/>
              <a:gd name="connsiteX3" fmla="*/ 0 w 4171131"/>
              <a:gd name="connsiteY3" fmla="*/ 4445464 h 4445464"/>
              <a:gd name="connsiteX4" fmla="*/ 3227322 w 4171131"/>
              <a:gd name="connsiteY4" fmla="*/ 0 h 4445464"/>
              <a:gd name="connsiteX5" fmla="*/ 4171131 w 4171131"/>
              <a:gd name="connsiteY5" fmla="*/ 569527 h 4445464"/>
              <a:gd name="connsiteX6" fmla="*/ 4171131 w 4171131"/>
              <a:gd name="connsiteY6" fmla="*/ 3875937 h 4445464"/>
              <a:gd name="connsiteX7" fmla="*/ 3227322 w 4171131"/>
              <a:gd name="connsiteY7" fmla="*/ 4445464 h 4445464"/>
              <a:gd name="connsiteX8" fmla="*/ 2131400 w 4171131"/>
              <a:gd name="connsiteY8" fmla="*/ 0 h 4445464"/>
              <a:gd name="connsiteX9" fmla="*/ 3105631 w 4171131"/>
              <a:gd name="connsiteY9" fmla="*/ 569527 h 4445464"/>
              <a:gd name="connsiteX10" fmla="*/ 3105631 w 4171131"/>
              <a:gd name="connsiteY10" fmla="*/ 3875937 h 4445464"/>
              <a:gd name="connsiteX11" fmla="*/ 2131400 w 4171131"/>
              <a:gd name="connsiteY11" fmla="*/ 4445464 h 4445464"/>
              <a:gd name="connsiteX12" fmla="*/ 1065699 w 4171131"/>
              <a:gd name="connsiteY12" fmla="*/ 0 h 4445464"/>
              <a:gd name="connsiteX13" fmla="*/ 2040031 w 4171131"/>
              <a:gd name="connsiteY13" fmla="*/ 569527 h 4445464"/>
              <a:gd name="connsiteX14" fmla="*/ 2040031 w 4171131"/>
              <a:gd name="connsiteY14" fmla="*/ 3875937 h 4445464"/>
              <a:gd name="connsiteX15" fmla="*/ 1065699 w 4171131"/>
              <a:gd name="connsiteY15" fmla="*/ 4445464 h 4445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171131" h="4445464">
                <a:moveTo>
                  <a:pt x="0" y="1"/>
                </a:moveTo>
                <a:lnTo>
                  <a:pt x="943908" y="569527"/>
                </a:lnTo>
                <a:lnTo>
                  <a:pt x="943908" y="3875937"/>
                </a:lnTo>
                <a:lnTo>
                  <a:pt x="0" y="4445464"/>
                </a:lnTo>
                <a:close/>
                <a:moveTo>
                  <a:pt x="3227322" y="0"/>
                </a:moveTo>
                <a:lnTo>
                  <a:pt x="4171131" y="569527"/>
                </a:lnTo>
                <a:lnTo>
                  <a:pt x="4171131" y="3875937"/>
                </a:lnTo>
                <a:lnTo>
                  <a:pt x="3227322" y="4445464"/>
                </a:lnTo>
                <a:close/>
                <a:moveTo>
                  <a:pt x="2131400" y="0"/>
                </a:moveTo>
                <a:lnTo>
                  <a:pt x="3105631" y="569527"/>
                </a:lnTo>
                <a:lnTo>
                  <a:pt x="3105631" y="3875937"/>
                </a:lnTo>
                <a:lnTo>
                  <a:pt x="2131400" y="4445464"/>
                </a:lnTo>
                <a:close/>
                <a:moveTo>
                  <a:pt x="1065699" y="0"/>
                </a:moveTo>
                <a:lnTo>
                  <a:pt x="2040031" y="569527"/>
                </a:lnTo>
                <a:lnTo>
                  <a:pt x="2040031" y="3875937"/>
                </a:lnTo>
                <a:lnTo>
                  <a:pt x="1065699" y="444546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insert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94ACFC5-D53C-B324-758C-416E26F66A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  <p:pic>
        <p:nvPicPr>
          <p:cNvPr id="4" name="Graphic 25">
            <a:extLst>
              <a:ext uri="{FF2B5EF4-FFF2-40B4-BE49-F238E27FC236}">
                <a16:creationId xmlns:a16="http://schemas.microsoft.com/office/drawing/2014/main" id="{A56E235E-3333-FC12-8934-68888C9251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4975" y="4483099"/>
            <a:ext cx="1425722" cy="469901"/>
          </a:xfrm>
          <a:prstGeom prst="rect">
            <a:avLst/>
          </a:prstGeom>
        </p:spPr>
      </p:pic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6B6B99DD-D7F7-2E0A-883F-E1809559BB6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1" y="3718131"/>
            <a:ext cx="4045514" cy="49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100">
                <a:solidFill>
                  <a:schemeClr val="tx2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</p:spTree>
    <p:extLst>
      <p:ext uri="{BB962C8B-B14F-4D97-AF65-F5344CB8AC3E}">
        <p14:creationId xmlns:p14="http://schemas.microsoft.com/office/powerpoint/2010/main" val="2798269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4">
          <p15:clr>
            <a:srgbClr val="F26B43"/>
          </p15:clr>
        </p15:guide>
        <p15:guide id="2" orient="horz" pos="518">
          <p15:clr>
            <a:srgbClr val="547EBF"/>
          </p15:clr>
        </p15:guide>
        <p15:guide id="3" orient="horz" pos="270">
          <p15:clr>
            <a:srgbClr val="547EBF"/>
          </p15:clr>
        </p15:guide>
        <p15:guide id="4" pos="272">
          <p15:clr>
            <a:srgbClr val="547EBF"/>
          </p15:clr>
        </p15:guide>
        <p15:guide id="5" orient="horz" pos="2822">
          <p15:clr>
            <a:srgbClr val="F26B43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abel Cover -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704107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704107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C023564-A8C0-59B7-53F7-E6D3FBAED7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  <p:pic>
        <p:nvPicPr>
          <p:cNvPr id="7" name="Graphic 25">
            <a:extLst>
              <a:ext uri="{FF2B5EF4-FFF2-40B4-BE49-F238E27FC236}">
                <a16:creationId xmlns:a16="http://schemas.microsoft.com/office/drawing/2014/main" id="{0823AE8E-836A-E923-33BE-7F642DFB70D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4975" y="4483099"/>
            <a:ext cx="1425722" cy="469901"/>
          </a:xfrm>
          <a:prstGeom prst="rect">
            <a:avLst/>
          </a:prstGeom>
        </p:spPr>
      </p:pic>
      <p:sp>
        <p:nvSpPr>
          <p:cNvPr id="5" name="Picture Placeholder 11">
            <a:extLst>
              <a:ext uri="{FF2B5EF4-FFF2-40B4-BE49-F238E27FC236}">
                <a16:creationId xmlns:a16="http://schemas.microsoft.com/office/drawing/2014/main" id="{84DA8362-D30F-485D-0F81-8D4790ABA45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800442" y="428625"/>
            <a:ext cx="1905708" cy="3924299"/>
          </a:xfrm>
          <a:custGeom>
            <a:avLst/>
            <a:gdLst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3541647 w 4459850"/>
              <a:gd name="connsiteY4" fmla="*/ 0 h 4464050"/>
              <a:gd name="connsiteX5" fmla="*/ 3543399 w 4459850"/>
              <a:gd name="connsiteY5" fmla="*/ 0 h 4464050"/>
              <a:gd name="connsiteX6" fmla="*/ 3543399 w 4459850"/>
              <a:gd name="connsiteY6" fmla="*/ 4464050 h 4464050"/>
              <a:gd name="connsiteX7" fmla="*/ 3541650 w 4459850"/>
              <a:gd name="connsiteY7" fmla="*/ 4464050 h 4464050"/>
              <a:gd name="connsiteX8" fmla="*/ 2911872 w 4459850"/>
              <a:gd name="connsiteY8" fmla="*/ 3893419 h 4464050"/>
              <a:gd name="connsiteX9" fmla="*/ 2911872 w 4459850"/>
              <a:gd name="connsiteY9" fmla="*/ 570628 h 4464050"/>
              <a:gd name="connsiteX10" fmla="*/ 2793440 w 4459850"/>
              <a:gd name="connsiteY10" fmla="*/ 0 h 4464050"/>
              <a:gd name="connsiteX11" fmla="*/ 2794835 w 4459850"/>
              <a:gd name="connsiteY11" fmla="*/ 0 h 4464050"/>
              <a:gd name="connsiteX12" fmla="*/ 2794835 w 4459850"/>
              <a:gd name="connsiteY12" fmla="*/ 4464050 h 4464050"/>
              <a:gd name="connsiteX13" fmla="*/ 2793443 w 4459850"/>
              <a:gd name="connsiteY13" fmla="*/ 4464050 h 4464050"/>
              <a:gd name="connsiteX14" fmla="*/ 2292030 w 4459850"/>
              <a:gd name="connsiteY14" fmla="*/ 3893419 h 4464050"/>
              <a:gd name="connsiteX15" fmla="*/ 2292030 w 4459850"/>
              <a:gd name="connsiteY15" fmla="*/ 570628 h 4464050"/>
              <a:gd name="connsiteX16" fmla="*/ 1672385 w 4459850"/>
              <a:gd name="connsiteY16" fmla="*/ 0 h 4464050"/>
              <a:gd name="connsiteX17" fmla="*/ 1673781 w 4459850"/>
              <a:gd name="connsiteY17" fmla="*/ 0 h 4464050"/>
              <a:gd name="connsiteX18" fmla="*/ 2175191 w 4459850"/>
              <a:gd name="connsiteY18" fmla="*/ 570628 h 4464050"/>
              <a:gd name="connsiteX19" fmla="*/ 2175191 w 4459850"/>
              <a:gd name="connsiteY19" fmla="*/ 3893320 h 4464050"/>
              <a:gd name="connsiteX20" fmla="*/ 1673690 w 4459850"/>
              <a:gd name="connsiteY20" fmla="*/ 4464050 h 4464050"/>
              <a:gd name="connsiteX21" fmla="*/ 1672385 w 4459850"/>
              <a:gd name="connsiteY21" fmla="*/ 4464050 h 4464050"/>
              <a:gd name="connsiteX22" fmla="*/ 923822 w 4459850"/>
              <a:gd name="connsiteY22" fmla="*/ 0 h 4464050"/>
              <a:gd name="connsiteX23" fmla="*/ 925575 w 4459850"/>
              <a:gd name="connsiteY23" fmla="*/ 0 h 4464050"/>
              <a:gd name="connsiteX24" fmla="*/ 1555348 w 4459850"/>
              <a:gd name="connsiteY24" fmla="*/ 570628 h 4464050"/>
              <a:gd name="connsiteX25" fmla="*/ 1555348 w 4459850"/>
              <a:gd name="connsiteY25" fmla="*/ 3893320 h 4464050"/>
              <a:gd name="connsiteX26" fmla="*/ 925461 w 4459850"/>
              <a:gd name="connsiteY26" fmla="*/ 4464050 h 4464050"/>
              <a:gd name="connsiteX27" fmla="*/ 923822 w 4459850"/>
              <a:gd name="connsiteY27" fmla="*/ 4464050 h 4464050"/>
              <a:gd name="connsiteX28" fmla="*/ 0 w 4459850"/>
              <a:gd name="connsiteY28" fmla="*/ 0 h 4464050"/>
              <a:gd name="connsiteX29" fmla="*/ 2239 w 4459850"/>
              <a:gd name="connsiteY29" fmla="*/ 0 h 4464050"/>
              <a:gd name="connsiteX30" fmla="*/ 806883 w 4459850"/>
              <a:gd name="connsiteY30" fmla="*/ 570628 h 4464050"/>
              <a:gd name="connsiteX31" fmla="*/ 806883 w 4459850"/>
              <a:gd name="connsiteY31" fmla="*/ 3893419 h 4464050"/>
              <a:gd name="connsiteX32" fmla="*/ 2234 w 4459850"/>
              <a:gd name="connsiteY32" fmla="*/ 4464050 h 4464050"/>
              <a:gd name="connsiteX33" fmla="*/ 0 w 4459850"/>
              <a:gd name="connsiteY33" fmla="*/ 446405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793440 w 4459850"/>
              <a:gd name="connsiteY12" fmla="*/ 0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2292030 w 4459850"/>
              <a:gd name="connsiteY17" fmla="*/ 570628 h 4464050"/>
              <a:gd name="connsiteX18" fmla="*/ 2793440 w 4459850"/>
              <a:gd name="connsiteY18" fmla="*/ 0 h 4464050"/>
              <a:gd name="connsiteX19" fmla="*/ 1672385 w 4459850"/>
              <a:gd name="connsiteY19" fmla="*/ 0 h 4464050"/>
              <a:gd name="connsiteX20" fmla="*/ 1673781 w 4459850"/>
              <a:gd name="connsiteY20" fmla="*/ 0 h 4464050"/>
              <a:gd name="connsiteX21" fmla="*/ 2175191 w 4459850"/>
              <a:gd name="connsiteY21" fmla="*/ 570628 h 4464050"/>
              <a:gd name="connsiteX22" fmla="*/ 2175191 w 4459850"/>
              <a:gd name="connsiteY22" fmla="*/ 3893320 h 4464050"/>
              <a:gd name="connsiteX23" fmla="*/ 1673690 w 4459850"/>
              <a:gd name="connsiteY23" fmla="*/ 4464050 h 4464050"/>
              <a:gd name="connsiteX24" fmla="*/ 1672385 w 4459850"/>
              <a:gd name="connsiteY24" fmla="*/ 4464050 h 4464050"/>
              <a:gd name="connsiteX25" fmla="*/ 1672385 w 4459850"/>
              <a:gd name="connsiteY25" fmla="*/ 0 h 4464050"/>
              <a:gd name="connsiteX26" fmla="*/ 923822 w 4459850"/>
              <a:gd name="connsiteY26" fmla="*/ 0 h 4464050"/>
              <a:gd name="connsiteX27" fmla="*/ 925575 w 4459850"/>
              <a:gd name="connsiteY27" fmla="*/ 0 h 4464050"/>
              <a:gd name="connsiteX28" fmla="*/ 1555348 w 4459850"/>
              <a:gd name="connsiteY28" fmla="*/ 570628 h 4464050"/>
              <a:gd name="connsiteX29" fmla="*/ 1555348 w 4459850"/>
              <a:gd name="connsiteY29" fmla="*/ 3893320 h 4464050"/>
              <a:gd name="connsiteX30" fmla="*/ 925461 w 4459850"/>
              <a:gd name="connsiteY30" fmla="*/ 4464050 h 4464050"/>
              <a:gd name="connsiteX31" fmla="*/ 923822 w 4459850"/>
              <a:gd name="connsiteY31" fmla="*/ 4464050 h 4464050"/>
              <a:gd name="connsiteX32" fmla="*/ 923822 w 4459850"/>
              <a:gd name="connsiteY32" fmla="*/ 0 h 4464050"/>
              <a:gd name="connsiteX33" fmla="*/ 0 w 4459850"/>
              <a:gd name="connsiteY33" fmla="*/ 0 h 4464050"/>
              <a:gd name="connsiteX34" fmla="*/ 2239 w 4459850"/>
              <a:gd name="connsiteY34" fmla="*/ 0 h 4464050"/>
              <a:gd name="connsiteX35" fmla="*/ 806883 w 4459850"/>
              <a:gd name="connsiteY35" fmla="*/ 3893419 h 4464050"/>
              <a:gd name="connsiteX36" fmla="*/ 2234 w 4459850"/>
              <a:gd name="connsiteY36" fmla="*/ 4464050 h 4464050"/>
              <a:gd name="connsiteX37" fmla="*/ 0 w 4459850"/>
              <a:gd name="connsiteY37" fmla="*/ 4464050 h 4464050"/>
              <a:gd name="connsiteX38" fmla="*/ 0 w 4459850"/>
              <a:gd name="connsiteY38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793440 w 4459850"/>
              <a:gd name="connsiteY12" fmla="*/ 0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2292030 w 4459850"/>
              <a:gd name="connsiteY17" fmla="*/ 570628 h 4464050"/>
              <a:gd name="connsiteX18" fmla="*/ 2793440 w 4459850"/>
              <a:gd name="connsiteY18" fmla="*/ 0 h 4464050"/>
              <a:gd name="connsiteX19" fmla="*/ 1672385 w 4459850"/>
              <a:gd name="connsiteY19" fmla="*/ 0 h 4464050"/>
              <a:gd name="connsiteX20" fmla="*/ 1673781 w 4459850"/>
              <a:gd name="connsiteY20" fmla="*/ 0 h 4464050"/>
              <a:gd name="connsiteX21" fmla="*/ 2175191 w 4459850"/>
              <a:gd name="connsiteY21" fmla="*/ 570628 h 4464050"/>
              <a:gd name="connsiteX22" fmla="*/ 2175191 w 4459850"/>
              <a:gd name="connsiteY22" fmla="*/ 3893320 h 4464050"/>
              <a:gd name="connsiteX23" fmla="*/ 1673690 w 4459850"/>
              <a:gd name="connsiteY23" fmla="*/ 4464050 h 4464050"/>
              <a:gd name="connsiteX24" fmla="*/ 1672385 w 4459850"/>
              <a:gd name="connsiteY24" fmla="*/ 4464050 h 4464050"/>
              <a:gd name="connsiteX25" fmla="*/ 1672385 w 4459850"/>
              <a:gd name="connsiteY25" fmla="*/ 0 h 4464050"/>
              <a:gd name="connsiteX26" fmla="*/ 923822 w 4459850"/>
              <a:gd name="connsiteY26" fmla="*/ 0 h 4464050"/>
              <a:gd name="connsiteX27" fmla="*/ 925575 w 4459850"/>
              <a:gd name="connsiteY27" fmla="*/ 0 h 4464050"/>
              <a:gd name="connsiteX28" fmla="*/ 1555348 w 4459850"/>
              <a:gd name="connsiteY28" fmla="*/ 570628 h 4464050"/>
              <a:gd name="connsiteX29" fmla="*/ 1555348 w 4459850"/>
              <a:gd name="connsiteY29" fmla="*/ 3893320 h 4464050"/>
              <a:gd name="connsiteX30" fmla="*/ 925461 w 4459850"/>
              <a:gd name="connsiteY30" fmla="*/ 4464050 h 4464050"/>
              <a:gd name="connsiteX31" fmla="*/ 923822 w 4459850"/>
              <a:gd name="connsiteY31" fmla="*/ 4464050 h 4464050"/>
              <a:gd name="connsiteX32" fmla="*/ 923822 w 4459850"/>
              <a:gd name="connsiteY32" fmla="*/ 0 h 4464050"/>
              <a:gd name="connsiteX33" fmla="*/ 0 w 4459850"/>
              <a:gd name="connsiteY33" fmla="*/ 4464050 h 4464050"/>
              <a:gd name="connsiteX34" fmla="*/ 2239 w 4459850"/>
              <a:gd name="connsiteY34" fmla="*/ 0 h 4464050"/>
              <a:gd name="connsiteX35" fmla="*/ 806883 w 4459850"/>
              <a:gd name="connsiteY35" fmla="*/ 3893419 h 4464050"/>
              <a:gd name="connsiteX36" fmla="*/ 2234 w 4459850"/>
              <a:gd name="connsiteY36" fmla="*/ 4464050 h 4464050"/>
              <a:gd name="connsiteX37" fmla="*/ 0 w 4459850"/>
              <a:gd name="connsiteY37" fmla="*/ 4464050 h 4464050"/>
              <a:gd name="connsiteX0" fmla="*/ 4457616 w 4457616"/>
              <a:gd name="connsiteY0" fmla="*/ 3569 h 4464050"/>
              <a:gd name="connsiteX1" fmla="*/ 4457616 w 4457616"/>
              <a:gd name="connsiteY1" fmla="*/ 4460478 h 4464050"/>
              <a:gd name="connsiteX2" fmla="*/ 3658004 w 4457616"/>
              <a:gd name="connsiteY2" fmla="*/ 3893419 h 4464050"/>
              <a:gd name="connsiteX3" fmla="*/ 3658004 w 4457616"/>
              <a:gd name="connsiteY3" fmla="*/ 570628 h 4464050"/>
              <a:gd name="connsiteX4" fmla="*/ 4457616 w 4457616"/>
              <a:gd name="connsiteY4" fmla="*/ 3569 h 4464050"/>
              <a:gd name="connsiteX5" fmla="*/ 3539413 w 4457616"/>
              <a:gd name="connsiteY5" fmla="*/ 0 h 4464050"/>
              <a:gd name="connsiteX6" fmla="*/ 3541165 w 4457616"/>
              <a:gd name="connsiteY6" fmla="*/ 0 h 4464050"/>
              <a:gd name="connsiteX7" fmla="*/ 3541165 w 4457616"/>
              <a:gd name="connsiteY7" fmla="*/ 4464050 h 4464050"/>
              <a:gd name="connsiteX8" fmla="*/ 3539416 w 4457616"/>
              <a:gd name="connsiteY8" fmla="*/ 4464050 h 4464050"/>
              <a:gd name="connsiteX9" fmla="*/ 2909638 w 4457616"/>
              <a:gd name="connsiteY9" fmla="*/ 3893419 h 4464050"/>
              <a:gd name="connsiteX10" fmla="*/ 2909638 w 4457616"/>
              <a:gd name="connsiteY10" fmla="*/ 570628 h 4464050"/>
              <a:gd name="connsiteX11" fmla="*/ 3539413 w 4457616"/>
              <a:gd name="connsiteY11" fmla="*/ 0 h 4464050"/>
              <a:gd name="connsiteX12" fmla="*/ 2791206 w 4457616"/>
              <a:gd name="connsiteY12" fmla="*/ 0 h 4464050"/>
              <a:gd name="connsiteX13" fmla="*/ 2792601 w 4457616"/>
              <a:gd name="connsiteY13" fmla="*/ 0 h 4464050"/>
              <a:gd name="connsiteX14" fmla="*/ 2792601 w 4457616"/>
              <a:gd name="connsiteY14" fmla="*/ 4464050 h 4464050"/>
              <a:gd name="connsiteX15" fmla="*/ 2791209 w 4457616"/>
              <a:gd name="connsiteY15" fmla="*/ 4464050 h 4464050"/>
              <a:gd name="connsiteX16" fmla="*/ 2289796 w 4457616"/>
              <a:gd name="connsiteY16" fmla="*/ 3893419 h 4464050"/>
              <a:gd name="connsiteX17" fmla="*/ 2289796 w 4457616"/>
              <a:gd name="connsiteY17" fmla="*/ 570628 h 4464050"/>
              <a:gd name="connsiteX18" fmla="*/ 2791206 w 4457616"/>
              <a:gd name="connsiteY18" fmla="*/ 0 h 4464050"/>
              <a:gd name="connsiteX19" fmla="*/ 1670151 w 4457616"/>
              <a:gd name="connsiteY19" fmla="*/ 0 h 4464050"/>
              <a:gd name="connsiteX20" fmla="*/ 1671547 w 4457616"/>
              <a:gd name="connsiteY20" fmla="*/ 0 h 4464050"/>
              <a:gd name="connsiteX21" fmla="*/ 2172957 w 4457616"/>
              <a:gd name="connsiteY21" fmla="*/ 570628 h 4464050"/>
              <a:gd name="connsiteX22" fmla="*/ 2172957 w 4457616"/>
              <a:gd name="connsiteY22" fmla="*/ 3893320 h 4464050"/>
              <a:gd name="connsiteX23" fmla="*/ 1671456 w 4457616"/>
              <a:gd name="connsiteY23" fmla="*/ 4464050 h 4464050"/>
              <a:gd name="connsiteX24" fmla="*/ 1670151 w 4457616"/>
              <a:gd name="connsiteY24" fmla="*/ 4464050 h 4464050"/>
              <a:gd name="connsiteX25" fmla="*/ 1670151 w 4457616"/>
              <a:gd name="connsiteY25" fmla="*/ 0 h 4464050"/>
              <a:gd name="connsiteX26" fmla="*/ 921588 w 4457616"/>
              <a:gd name="connsiteY26" fmla="*/ 0 h 4464050"/>
              <a:gd name="connsiteX27" fmla="*/ 923341 w 4457616"/>
              <a:gd name="connsiteY27" fmla="*/ 0 h 4464050"/>
              <a:gd name="connsiteX28" fmla="*/ 1553114 w 4457616"/>
              <a:gd name="connsiteY28" fmla="*/ 570628 h 4464050"/>
              <a:gd name="connsiteX29" fmla="*/ 1553114 w 4457616"/>
              <a:gd name="connsiteY29" fmla="*/ 3893320 h 4464050"/>
              <a:gd name="connsiteX30" fmla="*/ 923227 w 4457616"/>
              <a:gd name="connsiteY30" fmla="*/ 4464050 h 4464050"/>
              <a:gd name="connsiteX31" fmla="*/ 921588 w 4457616"/>
              <a:gd name="connsiteY31" fmla="*/ 4464050 h 4464050"/>
              <a:gd name="connsiteX32" fmla="*/ 921588 w 4457616"/>
              <a:gd name="connsiteY32" fmla="*/ 0 h 4464050"/>
              <a:gd name="connsiteX33" fmla="*/ 0 w 4457616"/>
              <a:gd name="connsiteY33" fmla="*/ 4464050 h 4464050"/>
              <a:gd name="connsiteX34" fmla="*/ 5 w 4457616"/>
              <a:gd name="connsiteY34" fmla="*/ 0 h 4464050"/>
              <a:gd name="connsiteX35" fmla="*/ 804649 w 4457616"/>
              <a:gd name="connsiteY35" fmla="*/ 3893419 h 4464050"/>
              <a:gd name="connsiteX36" fmla="*/ 0 w 4457616"/>
              <a:gd name="connsiteY36" fmla="*/ 4464050 h 4464050"/>
              <a:gd name="connsiteX0" fmla="*/ 4457611 w 4457611"/>
              <a:gd name="connsiteY0" fmla="*/ 3569 h 4464050"/>
              <a:gd name="connsiteX1" fmla="*/ 4457611 w 4457611"/>
              <a:gd name="connsiteY1" fmla="*/ 4460478 h 4464050"/>
              <a:gd name="connsiteX2" fmla="*/ 3657999 w 4457611"/>
              <a:gd name="connsiteY2" fmla="*/ 3893419 h 4464050"/>
              <a:gd name="connsiteX3" fmla="*/ 3657999 w 4457611"/>
              <a:gd name="connsiteY3" fmla="*/ 570628 h 4464050"/>
              <a:gd name="connsiteX4" fmla="*/ 4457611 w 4457611"/>
              <a:gd name="connsiteY4" fmla="*/ 3569 h 4464050"/>
              <a:gd name="connsiteX5" fmla="*/ 3539408 w 4457611"/>
              <a:gd name="connsiteY5" fmla="*/ 0 h 4464050"/>
              <a:gd name="connsiteX6" fmla="*/ 3541160 w 4457611"/>
              <a:gd name="connsiteY6" fmla="*/ 0 h 4464050"/>
              <a:gd name="connsiteX7" fmla="*/ 3541160 w 4457611"/>
              <a:gd name="connsiteY7" fmla="*/ 4464050 h 4464050"/>
              <a:gd name="connsiteX8" fmla="*/ 3539411 w 4457611"/>
              <a:gd name="connsiteY8" fmla="*/ 4464050 h 4464050"/>
              <a:gd name="connsiteX9" fmla="*/ 2909633 w 4457611"/>
              <a:gd name="connsiteY9" fmla="*/ 3893419 h 4464050"/>
              <a:gd name="connsiteX10" fmla="*/ 2909633 w 4457611"/>
              <a:gd name="connsiteY10" fmla="*/ 570628 h 4464050"/>
              <a:gd name="connsiteX11" fmla="*/ 3539408 w 4457611"/>
              <a:gd name="connsiteY11" fmla="*/ 0 h 4464050"/>
              <a:gd name="connsiteX12" fmla="*/ 2791201 w 4457611"/>
              <a:gd name="connsiteY12" fmla="*/ 0 h 4464050"/>
              <a:gd name="connsiteX13" fmla="*/ 2792596 w 4457611"/>
              <a:gd name="connsiteY13" fmla="*/ 0 h 4464050"/>
              <a:gd name="connsiteX14" fmla="*/ 2792596 w 4457611"/>
              <a:gd name="connsiteY14" fmla="*/ 4464050 h 4464050"/>
              <a:gd name="connsiteX15" fmla="*/ 2791204 w 4457611"/>
              <a:gd name="connsiteY15" fmla="*/ 4464050 h 4464050"/>
              <a:gd name="connsiteX16" fmla="*/ 2289791 w 4457611"/>
              <a:gd name="connsiteY16" fmla="*/ 3893419 h 4464050"/>
              <a:gd name="connsiteX17" fmla="*/ 2289791 w 4457611"/>
              <a:gd name="connsiteY17" fmla="*/ 570628 h 4464050"/>
              <a:gd name="connsiteX18" fmla="*/ 2791201 w 4457611"/>
              <a:gd name="connsiteY18" fmla="*/ 0 h 4464050"/>
              <a:gd name="connsiteX19" fmla="*/ 1670146 w 4457611"/>
              <a:gd name="connsiteY19" fmla="*/ 0 h 4464050"/>
              <a:gd name="connsiteX20" fmla="*/ 1671542 w 4457611"/>
              <a:gd name="connsiteY20" fmla="*/ 0 h 4464050"/>
              <a:gd name="connsiteX21" fmla="*/ 2172952 w 4457611"/>
              <a:gd name="connsiteY21" fmla="*/ 570628 h 4464050"/>
              <a:gd name="connsiteX22" fmla="*/ 2172952 w 4457611"/>
              <a:gd name="connsiteY22" fmla="*/ 3893320 h 4464050"/>
              <a:gd name="connsiteX23" fmla="*/ 1671451 w 4457611"/>
              <a:gd name="connsiteY23" fmla="*/ 4464050 h 4464050"/>
              <a:gd name="connsiteX24" fmla="*/ 1670146 w 4457611"/>
              <a:gd name="connsiteY24" fmla="*/ 4464050 h 4464050"/>
              <a:gd name="connsiteX25" fmla="*/ 1670146 w 4457611"/>
              <a:gd name="connsiteY25" fmla="*/ 0 h 4464050"/>
              <a:gd name="connsiteX26" fmla="*/ 921583 w 4457611"/>
              <a:gd name="connsiteY26" fmla="*/ 0 h 4464050"/>
              <a:gd name="connsiteX27" fmla="*/ 923336 w 4457611"/>
              <a:gd name="connsiteY27" fmla="*/ 0 h 4464050"/>
              <a:gd name="connsiteX28" fmla="*/ 1553109 w 4457611"/>
              <a:gd name="connsiteY28" fmla="*/ 570628 h 4464050"/>
              <a:gd name="connsiteX29" fmla="*/ 1553109 w 4457611"/>
              <a:gd name="connsiteY29" fmla="*/ 3893320 h 4464050"/>
              <a:gd name="connsiteX30" fmla="*/ 923222 w 4457611"/>
              <a:gd name="connsiteY30" fmla="*/ 4464050 h 4464050"/>
              <a:gd name="connsiteX31" fmla="*/ 921583 w 4457611"/>
              <a:gd name="connsiteY31" fmla="*/ 4464050 h 4464050"/>
              <a:gd name="connsiteX32" fmla="*/ 921583 w 4457611"/>
              <a:gd name="connsiteY32" fmla="*/ 0 h 4464050"/>
              <a:gd name="connsiteX33" fmla="*/ 804644 w 4457611"/>
              <a:gd name="connsiteY33" fmla="*/ 3893419 h 4464050"/>
              <a:gd name="connsiteX34" fmla="*/ 0 w 4457611"/>
              <a:gd name="connsiteY34" fmla="*/ 0 h 4464050"/>
              <a:gd name="connsiteX35" fmla="*/ 804644 w 4457611"/>
              <a:gd name="connsiteY35" fmla="*/ 3893419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0 h 4464050"/>
              <a:gd name="connsiteX27" fmla="*/ 1753 w 3536028"/>
              <a:gd name="connsiteY27" fmla="*/ 0 h 4464050"/>
              <a:gd name="connsiteX28" fmla="*/ 631526 w 3536028"/>
              <a:gd name="connsiteY28" fmla="*/ 570628 h 4464050"/>
              <a:gd name="connsiteX29" fmla="*/ 631526 w 3536028"/>
              <a:gd name="connsiteY29" fmla="*/ 3893320 h 4464050"/>
              <a:gd name="connsiteX30" fmla="*/ 1639 w 3536028"/>
              <a:gd name="connsiteY30" fmla="*/ 4464050 h 4464050"/>
              <a:gd name="connsiteX31" fmla="*/ 0 w 3536028"/>
              <a:gd name="connsiteY31" fmla="*/ 4464050 h 4464050"/>
              <a:gd name="connsiteX32" fmla="*/ 0 w 3536028"/>
              <a:gd name="connsiteY32" fmla="*/ 0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4464050 h 4464050"/>
              <a:gd name="connsiteX27" fmla="*/ 1753 w 3536028"/>
              <a:gd name="connsiteY27" fmla="*/ 0 h 4464050"/>
              <a:gd name="connsiteX28" fmla="*/ 631526 w 3536028"/>
              <a:gd name="connsiteY28" fmla="*/ 570628 h 4464050"/>
              <a:gd name="connsiteX29" fmla="*/ 631526 w 3536028"/>
              <a:gd name="connsiteY29" fmla="*/ 3893320 h 4464050"/>
              <a:gd name="connsiteX30" fmla="*/ 1639 w 3536028"/>
              <a:gd name="connsiteY30" fmla="*/ 4464050 h 4464050"/>
              <a:gd name="connsiteX31" fmla="*/ 0 w 3536028"/>
              <a:gd name="connsiteY31" fmla="*/ 4464050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4464050 h 4464050"/>
              <a:gd name="connsiteX27" fmla="*/ 1753 w 3536028"/>
              <a:gd name="connsiteY27" fmla="*/ 0 h 4464050"/>
              <a:gd name="connsiteX28" fmla="*/ 631526 w 3536028"/>
              <a:gd name="connsiteY28" fmla="*/ 3893320 h 4464050"/>
              <a:gd name="connsiteX29" fmla="*/ 1639 w 3536028"/>
              <a:gd name="connsiteY29" fmla="*/ 4464050 h 4464050"/>
              <a:gd name="connsiteX30" fmla="*/ 0 w 3536028"/>
              <a:gd name="connsiteY30" fmla="*/ 4464050 h 4464050"/>
              <a:gd name="connsiteX0" fmla="*/ 3563155 w 3563155"/>
              <a:gd name="connsiteY0" fmla="*/ 3569 h 4464050"/>
              <a:gd name="connsiteX1" fmla="*/ 3563155 w 3563155"/>
              <a:gd name="connsiteY1" fmla="*/ 4460478 h 4464050"/>
              <a:gd name="connsiteX2" fmla="*/ 2763543 w 3563155"/>
              <a:gd name="connsiteY2" fmla="*/ 3893419 h 4464050"/>
              <a:gd name="connsiteX3" fmla="*/ 2763543 w 3563155"/>
              <a:gd name="connsiteY3" fmla="*/ 570628 h 4464050"/>
              <a:gd name="connsiteX4" fmla="*/ 3563155 w 3563155"/>
              <a:gd name="connsiteY4" fmla="*/ 3569 h 4464050"/>
              <a:gd name="connsiteX5" fmla="*/ 2644952 w 3563155"/>
              <a:gd name="connsiteY5" fmla="*/ 0 h 4464050"/>
              <a:gd name="connsiteX6" fmla="*/ 2646704 w 3563155"/>
              <a:gd name="connsiteY6" fmla="*/ 0 h 4464050"/>
              <a:gd name="connsiteX7" fmla="*/ 2646704 w 3563155"/>
              <a:gd name="connsiteY7" fmla="*/ 4464050 h 4464050"/>
              <a:gd name="connsiteX8" fmla="*/ 2644955 w 3563155"/>
              <a:gd name="connsiteY8" fmla="*/ 4464050 h 4464050"/>
              <a:gd name="connsiteX9" fmla="*/ 2015177 w 3563155"/>
              <a:gd name="connsiteY9" fmla="*/ 3893419 h 4464050"/>
              <a:gd name="connsiteX10" fmla="*/ 2015177 w 3563155"/>
              <a:gd name="connsiteY10" fmla="*/ 570628 h 4464050"/>
              <a:gd name="connsiteX11" fmla="*/ 2644952 w 3563155"/>
              <a:gd name="connsiteY11" fmla="*/ 0 h 4464050"/>
              <a:gd name="connsiteX12" fmla="*/ 1896745 w 3563155"/>
              <a:gd name="connsiteY12" fmla="*/ 0 h 4464050"/>
              <a:gd name="connsiteX13" fmla="*/ 1898140 w 3563155"/>
              <a:gd name="connsiteY13" fmla="*/ 0 h 4464050"/>
              <a:gd name="connsiteX14" fmla="*/ 1898140 w 3563155"/>
              <a:gd name="connsiteY14" fmla="*/ 4464050 h 4464050"/>
              <a:gd name="connsiteX15" fmla="*/ 1896748 w 3563155"/>
              <a:gd name="connsiteY15" fmla="*/ 4464050 h 4464050"/>
              <a:gd name="connsiteX16" fmla="*/ 1395335 w 3563155"/>
              <a:gd name="connsiteY16" fmla="*/ 3893419 h 4464050"/>
              <a:gd name="connsiteX17" fmla="*/ 1395335 w 3563155"/>
              <a:gd name="connsiteY17" fmla="*/ 570628 h 4464050"/>
              <a:gd name="connsiteX18" fmla="*/ 1896745 w 3563155"/>
              <a:gd name="connsiteY18" fmla="*/ 0 h 4464050"/>
              <a:gd name="connsiteX19" fmla="*/ 775690 w 3563155"/>
              <a:gd name="connsiteY19" fmla="*/ 0 h 4464050"/>
              <a:gd name="connsiteX20" fmla="*/ 777086 w 3563155"/>
              <a:gd name="connsiteY20" fmla="*/ 0 h 4464050"/>
              <a:gd name="connsiteX21" fmla="*/ 1278496 w 3563155"/>
              <a:gd name="connsiteY21" fmla="*/ 570628 h 4464050"/>
              <a:gd name="connsiteX22" fmla="*/ 1278496 w 3563155"/>
              <a:gd name="connsiteY22" fmla="*/ 3893320 h 4464050"/>
              <a:gd name="connsiteX23" fmla="*/ 776995 w 3563155"/>
              <a:gd name="connsiteY23" fmla="*/ 4464050 h 4464050"/>
              <a:gd name="connsiteX24" fmla="*/ 775690 w 3563155"/>
              <a:gd name="connsiteY24" fmla="*/ 4464050 h 4464050"/>
              <a:gd name="connsiteX25" fmla="*/ 775690 w 3563155"/>
              <a:gd name="connsiteY25" fmla="*/ 0 h 4464050"/>
              <a:gd name="connsiteX26" fmla="*/ 27127 w 3563155"/>
              <a:gd name="connsiteY26" fmla="*/ 4464050 h 4464050"/>
              <a:gd name="connsiteX27" fmla="*/ 8 w 3563155"/>
              <a:gd name="connsiteY27" fmla="*/ 28872 h 4464050"/>
              <a:gd name="connsiteX28" fmla="*/ 658653 w 3563155"/>
              <a:gd name="connsiteY28" fmla="*/ 3893320 h 4464050"/>
              <a:gd name="connsiteX29" fmla="*/ 28766 w 3563155"/>
              <a:gd name="connsiteY29" fmla="*/ 4464050 h 4464050"/>
              <a:gd name="connsiteX30" fmla="*/ 27127 w 3563155"/>
              <a:gd name="connsiteY30" fmla="*/ 4464050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4464050 h 4464050"/>
              <a:gd name="connsiteX27" fmla="*/ 631526 w 3536028"/>
              <a:gd name="connsiteY27" fmla="*/ 3893320 h 4464050"/>
              <a:gd name="connsiteX28" fmla="*/ 1639 w 3536028"/>
              <a:gd name="connsiteY28" fmla="*/ 4464050 h 4464050"/>
              <a:gd name="connsiteX29" fmla="*/ 0 w 3536028"/>
              <a:gd name="connsiteY29" fmla="*/ 4464050 h 4464050"/>
              <a:gd name="connsiteX0" fmla="*/ 3534389 w 3534389"/>
              <a:gd name="connsiteY0" fmla="*/ 3569 h 4464050"/>
              <a:gd name="connsiteX1" fmla="*/ 3534389 w 3534389"/>
              <a:gd name="connsiteY1" fmla="*/ 4460478 h 4464050"/>
              <a:gd name="connsiteX2" fmla="*/ 2734777 w 3534389"/>
              <a:gd name="connsiteY2" fmla="*/ 3893419 h 4464050"/>
              <a:gd name="connsiteX3" fmla="*/ 2734777 w 3534389"/>
              <a:gd name="connsiteY3" fmla="*/ 570628 h 4464050"/>
              <a:gd name="connsiteX4" fmla="*/ 3534389 w 3534389"/>
              <a:gd name="connsiteY4" fmla="*/ 3569 h 4464050"/>
              <a:gd name="connsiteX5" fmla="*/ 2616186 w 3534389"/>
              <a:gd name="connsiteY5" fmla="*/ 0 h 4464050"/>
              <a:gd name="connsiteX6" fmla="*/ 2617938 w 3534389"/>
              <a:gd name="connsiteY6" fmla="*/ 0 h 4464050"/>
              <a:gd name="connsiteX7" fmla="*/ 2617938 w 3534389"/>
              <a:gd name="connsiteY7" fmla="*/ 4464050 h 4464050"/>
              <a:gd name="connsiteX8" fmla="*/ 2616189 w 3534389"/>
              <a:gd name="connsiteY8" fmla="*/ 4464050 h 4464050"/>
              <a:gd name="connsiteX9" fmla="*/ 1986411 w 3534389"/>
              <a:gd name="connsiteY9" fmla="*/ 3893419 h 4464050"/>
              <a:gd name="connsiteX10" fmla="*/ 1986411 w 3534389"/>
              <a:gd name="connsiteY10" fmla="*/ 570628 h 4464050"/>
              <a:gd name="connsiteX11" fmla="*/ 2616186 w 3534389"/>
              <a:gd name="connsiteY11" fmla="*/ 0 h 4464050"/>
              <a:gd name="connsiteX12" fmla="*/ 1867979 w 3534389"/>
              <a:gd name="connsiteY12" fmla="*/ 0 h 4464050"/>
              <a:gd name="connsiteX13" fmla="*/ 1869374 w 3534389"/>
              <a:gd name="connsiteY13" fmla="*/ 0 h 4464050"/>
              <a:gd name="connsiteX14" fmla="*/ 1869374 w 3534389"/>
              <a:gd name="connsiteY14" fmla="*/ 4464050 h 4464050"/>
              <a:gd name="connsiteX15" fmla="*/ 1867982 w 3534389"/>
              <a:gd name="connsiteY15" fmla="*/ 4464050 h 4464050"/>
              <a:gd name="connsiteX16" fmla="*/ 1366569 w 3534389"/>
              <a:gd name="connsiteY16" fmla="*/ 3893419 h 4464050"/>
              <a:gd name="connsiteX17" fmla="*/ 1366569 w 3534389"/>
              <a:gd name="connsiteY17" fmla="*/ 570628 h 4464050"/>
              <a:gd name="connsiteX18" fmla="*/ 1867979 w 3534389"/>
              <a:gd name="connsiteY18" fmla="*/ 0 h 4464050"/>
              <a:gd name="connsiteX19" fmla="*/ 746924 w 3534389"/>
              <a:gd name="connsiteY19" fmla="*/ 0 h 4464050"/>
              <a:gd name="connsiteX20" fmla="*/ 748320 w 3534389"/>
              <a:gd name="connsiteY20" fmla="*/ 0 h 4464050"/>
              <a:gd name="connsiteX21" fmla="*/ 1249730 w 3534389"/>
              <a:gd name="connsiteY21" fmla="*/ 570628 h 4464050"/>
              <a:gd name="connsiteX22" fmla="*/ 1249730 w 3534389"/>
              <a:gd name="connsiteY22" fmla="*/ 3893320 h 4464050"/>
              <a:gd name="connsiteX23" fmla="*/ 748229 w 3534389"/>
              <a:gd name="connsiteY23" fmla="*/ 4464050 h 4464050"/>
              <a:gd name="connsiteX24" fmla="*/ 746924 w 3534389"/>
              <a:gd name="connsiteY24" fmla="*/ 4464050 h 4464050"/>
              <a:gd name="connsiteX25" fmla="*/ 746924 w 3534389"/>
              <a:gd name="connsiteY25" fmla="*/ 0 h 4464050"/>
              <a:gd name="connsiteX26" fmla="*/ 0 w 3534389"/>
              <a:gd name="connsiteY26" fmla="*/ 4464050 h 4464050"/>
              <a:gd name="connsiteX27" fmla="*/ 629887 w 3534389"/>
              <a:gd name="connsiteY27" fmla="*/ 3893320 h 4464050"/>
              <a:gd name="connsiteX28" fmla="*/ 0 w 3534389"/>
              <a:gd name="connsiteY28" fmla="*/ 446405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0 h 4464050"/>
              <a:gd name="connsiteX20" fmla="*/ 1396 w 2787465"/>
              <a:gd name="connsiteY20" fmla="*/ 0 h 4464050"/>
              <a:gd name="connsiteX21" fmla="*/ 502806 w 2787465"/>
              <a:gd name="connsiteY21" fmla="*/ 570628 h 4464050"/>
              <a:gd name="connsiteX22" fmla="*/ 502806 w 2787465"/>
              <a:gd name="connsiteY22" fmla="*/ 3893320 h 4464050"/>
              <a:gd name="connsiteX23" fmla="*/ 1305 w 2787465"/>
              <a:gd name="connsiteY23" fmla="*/ 4464050 h 4464050"/>
              <a:gd name="connsiteX24" fmla="*/ 0 w 2787465"/>
              <a:gd name="connsiteY24" fmla="*/ 4464050 h 4464050"/>
              <a:gd name="connsiteX25" fmla="*/ 0 w 2787465"/>
              <a:gd name="connsiteY25" fmla="*/ 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0 h 4464050"/>
              <a:gd name="connsiteX20" fmla="*/ 1396 w 2787465"/>
              <a:gd name="connsiteY20" fmla="*/ 0 h 4464050"/>
              <a:gd name="connsiteX21" fmla="*/ 502806 w 2787465"/>
              <a:gd name="connsiteY21" fmla="*/ 3893320 h 4464050"/>
              <a:gd name="connsiteX22" fmla="*/ 1305 w 2787465"/>
              <a:gd name="connsiteY22" fmla="*/ 4464050 h 4464050"/>
              <a:gd name="connsiteX23" fmla="*/ 0 w 2787465"/>
              <a:gd name="connsiteY23" fmla="*/ 4464050 h 4464050"/>
              <a:gd name="connsiteX24" fmla="*/ 0 w 2787465"/>
              <a:gd name="connsiteY24" fmla="*/ 0 h 4464050"/>
              <a:gd name="connsiteX0" fmla="*/ 2809119 w 2809119"/>
              <a:gd name="connsiteY0" fmla="*/ 3569 h 4464050"/>
              <a:gd name="connsiteX1" fmla="*/ 2809119 w 2809119"/>
              <a:gd name="connsiteY1" fmla="*/ 4460478 h 4464050"/>
              <a:gd name="connsiteX2" fmla="*/ 2009507 w 2809119"/>
              <a:gd name="connsiteY2" fmla="*/ 3893419 h 4464050"/>
              <a:gd name="connsiteX3" fmla="*/ 2009507 w 2809119"/>
              <a:gd name="connsiteY3" fmla="*/ 570628 h 4464050"/>
              <a:gd name="connsiteX4" fmla="*/ 2809119 w 2809119"/>
              <a:gd name="connsiteY4" fmla="*/ 3569 h 4464050"/>
              <a:gd name="connsiteX5" fmla="*/ 1890916 w 2809119"/>
              <a:gd name="connsiteY5" fmla="*/ 0 h 4464050"/>
              <a:gd name="connsiteX6" fmla="*/ 1892668 w 2809119"/>
              <a:gd name="connsiteY6" fmla="*/ 0 h 4464050"/>
              <a:gd name="connsiteX7" fmla="*/ 1892668 w 2809119"/>
              <a:gd name="connsiteY7" fmla="*/ 4464050 h 4464050"/>
              <a:gd name="connsiteX8" fmla="*/ 1890919 w 2809119"/>
              <a:gd name="connsiteY8" fmla="*/ 4464050 h 4464050"/>
              <a:gd name="connsiteX9" fmla="*/ 1261141 w 2809119"/>
              <a:gd name="connsiteY9" fmla="*/ 3893419 h 4464050"/>
              <a:gd name="connsiteX10" fmla="*/ 1261141 w 2809119"/>
              <a:gd name="connsiteY10" fmla="*/ 570628 h 4464050"/>
              <a:gd name="connsiteX11" fmla="*/ 1890916 w 2809119"/>
              <a:gd name="connsiteY11" fmla="*/ 0 h 4464050"/>
              <a:gd name="connsiteX12" fmla="*/ 1142709 w 2809119"/>
              <a:gd name="connsiteY12" fmla="*/ 0 h 4464050"/>
              <a:gd name="connsiteX13" fmla="*/ 1144104 w 2809119"/>
              <a:gd name="connsiteY13" fmla="*/ 0 h 4464050"/>
              <a:gd name="connsiteX14" fmla="*/ 1144104 w 2809119"/>
              <a:gd name="connsiteY14" fmla="*/ 4464050 h 4464050"/>
              <a:gd name="connsiteX15" fmla="*/ 1142712 w 2809119"/>
              <a:gd name="connsiteY15" fmla="*/ 4464050 h 4464050"/>
              <a:gd name="connsiteX16" fmla="*/ 641299 w 2809119"/>
              <a:gd name="connsiteY16" fmla="*/ 3893419 h 4464050"/>
              <a:gd name="connsiteX17" fmla="*/ 641299 w 2809119"/>
              <a:gd name="connsiteY17" fmla="*/ 570628 h 4464050"/>
              <a:gd name="connsiteX18" fmla="*/ 1142709 w 2809119"/>
              <a:gd name="connsiteY18" fmla="*/ 0 h 4464050"/>
              <a:gd name="connsiteX19" fmla="*/ 0 w 2809119"/>
              <a:gd name="connsiteY19" fmla="*/ 7219 h 4464050"/>
              <a:gd name="connsiteX20" fmla="*/ 23050 w 2809119"/>
              <a:gd name="connsiteY20" fmla="*/ 0 h 4464050"/>
              <a:gd name="connsiteX21" fmla="*/ 524460 w 2809119"/>
              <a:gd name="connsiteY21" fmla="*/ 3893320 h 4464050"/>
              <a:gd name="connsiteX22" fmla="*/ 22959 w 2809119"/>
              <a:gd name="connsiteY22" fmla="*/ 4464050 h 4464050"/>
              <a:gd name="connsiteX23" fmla="*/ 21654 w 2809119"/>
              <a:gd name="connsiteY23" fmla="*/ 4464050 h 4464050"/>
              <a:gd name="connsiteX24" fmla="*/ 0 w 2809119"/>
              <a:gd name="connsiteY24" fmla="*/ 7219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4464050 h 4464050"/>
              <a:gd name="connsiteX20" fmla="*/ 1396 w 2787465"/>
              <a:gd name="connsiteY20" fmla="*/ 0 h 4464050"/>
              <a:gd name="connsiteX21" fmla="*/ 502806 w 2787465"/>
              <a:gd name="connsiteY21" fmla="*/ 3893320 h 4464050"/>
              <a:gd name="connsiteX22" fmla="*/ 1305 w 2787465"/>
              <a:gd name="connsiteY22" fmla="*/ 4464050 h 4464050"/>
              <a:gd name="connsiteX23" fmla="*/ 0 w 2787465"/>
              <a:gd name="connsiteY23" fmla="*/ 446405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4464050 h 4464050"/>
              <a:gd name="connsiteX20" fmla="*/ 1396 w 2787465"/>
              <a:gd name="connsiteY20" fmla="*/ 0 h 4464050"/>
              <a:gd name="connsiteX21" fmla="*/ 1305 w 2787465"/>
              <a:gd name="connsiteY21" fmla="*/ 4464050 h 4464050"/>
              <a:gd name="connsiteX22" fmla="*/ 0 w 2787465"/>
              <a:gd name="connsiteY22" fmla="*/ 446405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4464050 h 4464050"/>
              <a:gd name="connsiteX20" fmla="*/ 1305 w 2787465"/>
              <a:gd name="connsiteY20" fmla="*/ 4464050 h 4464050"/>
              <a:gd name="connsiteX21" fmla="*/ 0 w 2787465"/>
              <a:gd name="connsiteY21" fmla="*/ 4464050 h 4464050"/>
              <a:gd name="connsiteX0" fmla="*/ 2167820 w 2167820"/>
              <a:gd name="connsiteY0" fmla="*/ 3569 h 4464050"/>
              <a:gd name="connsiteX1" fmla="*/ 2167820 w 2167820"/>
              <a:gd name="connsiteY1" fmla="*/ 4460478 h 4464050"/>
              <a:gd name="connsiteX2" fmla="*/ 1368208 w 2167820"/>
              <a:gd name="connsiteY2" fmla="*/ 3893419 h 4464050"/>
              <a:gd name="connsiteX3" fmla="*/ 1368208 w 2167820"/>
              <a:gd name="connsiteY3" fmla="*/ 570628 h 4464050"/>
              <a:gd name="connsiteX4" fmla="*/ 2167820 w 2167820"/>
              <a:gd name="connsiteY4" fmla="*/ 3569 h 4464050"/>
              <a:gd name="connsiteX5" fmla="*/ 1249617 w 2167820"/>
              <a:gd name="connsiteY5" fmla="*/ 0 h 4464050"/>
              <a:gd name="connsiteX6" fmla="*/ 1251369 w 2167820"/>
              <a:gd name="connsiteY6" fmla="*/ 0 h 4464050"/>
              <a:gd name="connsiteX7" fmla="*/ 1251369 w 2167820"/>
              <a:gd name="connsiteY7" fmla="*/ 4464050 h 4464050"/>
              <a:gd name="connsiteX8" fmla="*/ 1249620 w 2167820"/>
              <a:gd name="connsiteY8" fmla="*/ 4464050 h 4464050"/>
              <a:gd name="connsiteX9" fmla="*/ 619842 w 2167820"/>
              <a:gd name="connsiteY9" fmla="*/ 3893419 h 4464050"/>
              <a:gd name="connsiteX10" fmla="*/ 619842 w 2167820"/>
              <a:gd name="connsiteY10" fmla="*/ 570628 h 4464050"/>
              <a:gd name="connsiteX11" fmla="*/ 1249617 w 2167820"/>
              <a:gd name="connsiteY11" fmla="*/ 0 h 4464050"/>
              <a:gd name="connsiteX12" fmla="*/ 501410 w 2167820"/>
              <a:gd name="connsiteY12" fmla="*/ 0 h 4464050"/>
              <a:gd name="connsiteX13" fmla="*/ 502805 w 2167820"/>
              <a:gd name="connsiteY13" fmla="*/ 0 h 4464050"/>
              <a:gd name="connsiteX14" fmla="*/ 502805 w 2167820"/>
              <a:gd name="connsiteY14" fmla="*/ 4464050 h 4464050"/>
              <a:gd name="connsiteX15" fmla="*/ 501413 w 2167820"/>
              <a:gd name="connsiteY15" fmla="*/ 4464050 h 4464050"/>
              <a:gd name="connsiteX16" fmla="*/ 0 w 2167820"/>
              <a:gd name="connsiteY16" fmla="*/ 3893419 h 4464050"/>
              <a:gd name="connsiteX17" fmla="*/ 0 w 2167820"/>
              <a:gd name="connsiteY17" fmla="*/ 570628 h 4464050"/>
              <a:gd name="connsiteX18" fmla="*/ 501410 w 2167820"/>
              <a:gd name="connsiteY18" fmla="*/ 0 h 446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167820" h="4464050">
                <a:moveTo>
                  <a:pt x="2167820" y="3569"/>
                </a:moveTo>
                <a:lnTo>
                  <a:pt x="2167820" y="4460478"/>
                </a:lnTo>
                <a:lnTo>
                  <a:pt x="1368208" y="3893419"/>
                </a:lnTo>
                <a:lnTo>
                  <a:pt x="1368208" y="570628"/>
                </a:lnTo>
                <a:lnTo>
                  <a:pt x="2167820" y="3569"/>
                </a:lnTo>
                <a:close/>
                <a:moveTo>
                  <a:pt x="1249617" y="0"/>
                </a:moveTo>
                <a:lnTo>
                  <a:pt x="1251369" y="0"/>
                </a:lnTo>
                <a:lnTo>
                  <a:pt x="1251369" y="4464050"/>
                </a:lnTo>
                <a:lnTo>
                  <a:pt x="1249620" y="4464050"/>
                </a:lnTo>
                <a:lnTo>
                  <a:pt x="619842" y="3893419"/>
                </a:lnTo>
                <a:lnTo>
                  <a:pt x="619842" y="570628"/>
                </a:lnTo>
                <a:lnTo>
                  <a:pt x="1249617" y="0"/>
                </a:lnTo>
                <a:close/>
                <a:moveTo>
                  <a:pt x="501410" y="0"/>
                </a:moveTo>
                <a:lnTo>
                  <a:pt x="502805" y="0"/>
                </a:lnTo>
                <a:lnTo>
                  <a:pt x="502805" y="4464050"/>
                </a:lnTo>
                <a:lnTo>
                  <a:pt x="501413" y="4464050"/>
                </a:lnTo>
                <a:lnTo>
                  <a:pt x="0" y="3893419"/>
                </a:lnTo>
                <a:lnTo>
                  <a:pt x="0" y="570628"/>
                </a:lnTo>
                <a:lnTo>
                  <a:pt x="50141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insert picture</a:t>
            </a:r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CE77EB60-ACA1-6112-BDA5-237DF487574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81765" y="428625"/>
            <a:ext cx="1912188" cy="3924299"/>
          </a:xfrm>
          <a:custGeom>
            <a:avLst/>
            <a:gdLst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3541647 w 4459850"/>
              <a:gd name="connsiteY4" fmla="*/ 0 h 4464050"/>
              <a:gd name="connsiteX5" fmla="*/ 3543399 w 4459850"/>
              <a:gd name="connsiteY5" fmla="*/ 0 h 4464050"/>
              <a:gd name="connsiteX6" fmla="*/ 3543399 w 4459850"/>
              <a:gd name="connsiteY6" fmla="*/ 4464050 h 4464050"/>
              <a:gd name="connsiteX7" fmla="*/ 3541650 w 4459850"/>
              <a:gd name="connsiteY7" fmla="*/ 4464050 h 4464050"/>
              <a:gd name="connsiteX8" fmla="*/ 2911872 w 4459850"/>
              <a:gd name="connsiteY8" fmla="*/ 3893419 h 4464050"/>
              <a:gd name="connsiteX9" fmla="*/ 2911872 w 4459850"/>
              <a:gd name="connsiteY9" fmla="*/ 570628 h 4464050"/>
              <a:gd name="connsiteX10" fmla="*/ 2793440 w 4459850"/>
              <a:gd name="connsiteY10" fmla="*/ 0 h 4464050"/>
              <a:gd name="connsiteX11" fmla="*/ 2794835 w 4459850"/>
              <a:gd name="connsiteY11" fmla="*/ 0 h 4464050"/>
              <a:gd name="connsiteX12" fmla="*/ 2794835 w 4459850"/>
              <a:gd name="connsiteY12" fmla="*/ 4464050 h 4464050"/>
              <a:gd name="connsiteX13" fmla="*/ 2793443 w 4459850"/>
              <a:gd name="connsiteY13" fmla="*/ 4464050 h 4464050"/>
              <a:gd name="connsiteX14" fmla="*/ 2292030 w 4459850"/>
              <a:gd name="connsiteY14" fmla="*/ 3893419 h 4464050"/>
              <a:gd name="connsiteX15" fmla="*/ 2292030 w 4459850"/>
              <a:gd name="connsiteY15" fmla="*/ 570628 h 4464050"/>
              <a:gd name="connsiteX16" fmla="*/ 1672385 w 4459850"/>
              <a:gd name="connsiteY16" fmla="*/ 0 h 4464050"/>
              <a:gd name="connsiteX17" fmla="*/ 1673781 w 4459850"/>
              <a:gd name="connsiteY17" fmla="*/ 0 h 4464050"/>
              <a:gd name="connsiteX18" fmla="*/ 2175191 w 4459850"/>
              <a:gd name="connsiteY18" fmla="*/ 570628 h 4464050"/>
              <a:gd name="connsiteX19" fmla="*/ 2175191 w 4459850"/>
              <a:gd name="connsiteY19" fmla="*/ 3893320 h 4464050"/>
              <a:gd name="connsiteX20" fmla="*/ 1673690 w 4459850"/>
              <a:gd name="connsiteY20" fmla="*/ 4464050 h 4464050"/>
              <a:gd name="connsiteX21" fmla="*/ 1672385 w 4459850"/>
              <a:gd name="connsiteY21" fmla="*/ 4464050 h 4464050"/>
              <a:gd name="connsiteX22" fmla="*/ 923822 w 4459850"/>
              <a:gd name="connsiteY22" fmla="*/ 0 h 4464050"/>
              <a:gd name="connsiteX23" fmla="*/ 925575 w 4459850"/>
              <a:gd name="connsiteY23" fmla="*/ 0 h 4464050"/>
              <a:gd name="connsiteX24" fmla="*/ 1555348 w 4459850"/>
              <a:gd name="connsiteY24" fmla="*/ 570628 h 4464050"/>
              <a:gd name="connsiteX25" fmla="*/ 1555348 w 4459850"/>
              <a:gd name="connsiteY25" fmla="*/ 3893320 h 4464050"/>
              <a:gd name="connsiteX26" fmla="*/ 925461 w 4459850"/>
              <a:gd name="connsiteY26" fmla="*/ 4464050 h 4464050"/>
              <a:gd name="connsiteX27" fmla="*/ 923822 w 4459850"/>
              <a:gd name="connsiteY27" fmla="*/ 4464050 h 4464050"/>
              <a:gd name="connsiteX28" fmla="*/ 0 w 4459850"/>
              <a:gd name="connsiteY28" fmla="*/ 0 h 4464050"/>
              <a:gd name="connsiteX29" fmla="*/ 2239 w 4459850"/>
              <a:gd name="connsiteY29" fmla="*/ 0 h 4464050"/>
              <a:gd name="connsiteX30" fmla="*/ 806883 w 4459850"/>
              <a:gd name="connsiteY30" fmla="*/ 570628 h 4464050"/>
              <a:gd name="connsiteX31" fmla="*/ 806883 w 4459850"/>
              <a:gd name="connsiteY31" fmla="*/ 3893419 h 4464050"/>
              <a:gd name="connsiteX32" fmla="*/ 2234 w 4459850"/>
              <a:gd name="connsiteY32" fmla="*/ 4464050 h 4464050"/>
              <a:gd name="connsiteX33" fmla="*/ 0 w 4459850"/>
              <a:gd name="connsiteY33" fmla="*/ 446405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292030 w 4459850"/>
              <a:gd name="connsiteY12" fmla="*/ 570628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2292030 w 4459850"/>
              <a:gd name="connsiteY17" fmla="*/ 570628 h 4464050"/>
              <a:gd name="connsiteX18" fmla="*/ 1672385 w 4459850"/>
              <a:gd name="connsiteY18" fmla="*/ 0 h 4464050"/>
              <a:gd name="connsiteX19" fmla="*/ 1673781 w 4459850"/>
              <a:gd name="connsiteY19" fmla="*/ 0 h 4464050"/>
              <a:gd name="connsiteX20" fmla="*/ 2175191 w 4459850"/>
              <a:gd name="connsiteY20" fmla="*/ 570628 h 4464050"/>
              <a:gd name="connsiteX21" fmla="*/ 2175191 w 4459850"/>
              <a:gd name="connsiteY21" fmla="*/ 3893320 h 4464050"/>
              <a:gd name="connsiteX22" fmla="*/ 1673690 w 4459850"/>
              <a:gd name="connsiteY22" fmla="*/ 4464050 h 4464050"/>
              <a:gd name="connsiteX23" fmla="*/ 1672385 w 4459850"/>
              <a:gd name="connsiteY23" fmla="*/ 4464050 h 4464050"/>
              <a:gd name="connsiteX24" fmla="*/ 1672385 w 4459850"/>
              <a:gd name="connsiteY24" fmla="*/ 0 h 4464050"/>
              <a:gd name="connsiteX25" fmla="*/ 923822 w 4459850"/>
              <a:gd name="connsiteY25" fmla="*/ 0 h 4464050"/>
              <a:gd name="connsiteX26" fmla="*/ 925575 w 4459850"/>
              <a:gd name="connsiteY26" fmla="*/ 0 h 4464050"/>
              <a:gd name="connsiteX27" fmla="*/ 1555348 w 4459850"/>
              <a:gd name="connsiteY27" fmla="*/ 570628 h 4464050"/>
              <a:gd name="connsiteX28" fmla="*/ 1555348 w 4459850"/>
              <a:gd name="connsiteY28" fmla="*/ 3893320 h 4464050"/>
              <a:gd name="connsiteX29" fmla="*/ 925461 w 4459850"/>
              <a:gd name="connsiteY29" fmla="*/ 4464050 h 4464050"/>
              <a:gd name="connsiteX30" fmla="*/ 923822 w 4459850"/>
              <a:gd name="connsiteY30" fmla="*/ 4464050 h 4464050"/>
              <a:gd name="connsiteX31" fmla="*/ 923822 w 4459850"/>
              <a:gd name="connsiteY31" fmla="*/ 0 h 4464050"/>
              <a:gd name="connsiteX32" fmla="*/ 0 w 4459850"/>
              <a:gd name="connsiteY32" fmla="*/ 0 h 4464050"/>
              <a:gd name="connsiteX33" fmla="*/ 2239 w 4459850"/>
              <a:gd name="connsiteY33" fmla="*/ 0 h 4464050"/>
              <a:gd name="connsiteX34" fmla="*/ 806883 w 4459850"/>
              <a:gd name="connsiteY34" fmla="*/ 570628 h 4464050"/>
              <a:gd name="connsiteX35" fmla="*/ 806883 w 4459850"/>
              <a:gd name="connsiteY35" fmla="*/ 3893419 h 4464050"/>
              <a:gd name="connsiteX36" fmla="*/ 2234 w 4459850"/>
              <a:gd name="connsiteY36" fmla="*/ 4464050 h 4464050"/>
              <a:gd name="connsiteX37" fmla="*/ 0 w 4459850"/>
              <a:gd name="connsiteY37" fmla="*/ 4464050 h 4464050"/>
              <a:gd name="connsiteX38" fmla="*/ 0 w 4459850"/>
              <a:gd name="connsiteY38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292030 w 4459850"/>
              <a:gd name="connsiteY12" fmla="*/ 3893419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1672385 w 4459850"/>
              <a:gd name="connsiteY17" fmla="*/ 0 h 4464050"/>
              <a:gd name="connsiteX18" fmla="*/ 1673781 w 4459850"/>
              <a:gd name="connsiteY18" fmla="*/ 0 h 4464050"/>
              <a:gd name="connsiteX19" fmla="*/ 2175191 w 4459850"/>
              <a:gd name="connsiteY19" fmla="*/ 570628 h 4464050"/>
              <a:gd name="connsiteX20" fmla="*/ 2175191 w 4459850"/>
              <a:gd name="connsiteY20" fmla="*/ 3893320 h 4464050"/>
              <a:gd name="connsiteX21" fmla="*/ 1673690 w 4459850"/>
              <a:gd name="connsiteY21" fmla="*/ 4464050 h 4464050"/>
              <a:gd name="connsiteX22" fmla="*/ 1672385 w 4459850"/>
              <a:gd name="connsiteY22" fmla="*/ 4464050 h 4464050"/>
              <a:gd name="connsiteX23" fmla="*/ 1672385 w 4459850"/>
              <a:gd name="connsiteY23" fmla="*/ 0 h 4464050"/>
              <a:gd name="connsiteX24" fmla="*/ 923822 w 4459850"/>
              <a:gd name="connsiteY24" fmla="*/ 0 h 4464050"/>
              <a:gd name="connsiteX25" fmla="*/ 925575 w 4459850"/>
              <a:gd name="connsiteY25" fmla="*/ 0 h 4464050"/>
              <a:gd name="connsiteX26" fmla="*/ 1555348 w 4459850"/>
              <a:gd name="connsiteY26" fmla="*/ 570628 h 4464050"/>
              <a:gd name="connsiteX27" fmla="*/ 1555348 w 4459850"/>
              <a:gd name="connsiteY27" fmla="*/ 3893320 h 4464050"/>
              <a:gd name="connsiteX28" fmla="*/ 925461 w 4459850"/>
              <a:gd name="connsiteY28" fmla="*/ 4464050 h 4464050"/>
              <a:gd name="connsiteX29" fmla="*/ 923822 w 4459850"/>
              <a:gd name="connsiteY29" fmla="*/ 4464050 h 4464050"/>
              <a:gd name="connsiteX30" fmla="*/ 923822 w 4459850"/>
              <a:gd name="connsiteY30" fmla="*/ 0 h 4464050"/>
              <a:gd name="connsiteX31" fmla="*/ 0 w 4459850"/>
              <a:gd name="connsiteY31" fmla="*/ 0 h 4464050"/>
              <a:gd name="connsiteX32" fmla="*/ 2239 w 4459850"/>
              <a:gd name="connsiteY32" fmla="*/ 0 h 4464050"/>
              <a:gd name="connsiteX33" fmla="*/ 806883 w 4459850"/>
              <a:gd name="connsiteY33" fmla="*/ 570628 h 4464050"/>
              <a:gd name="connsiteX34" fmla="*/ 806883 w 4459850"/>
              <a:gd name="connsiteY34" fmla="*/ 3893419 h 4464050"/>
              <a:gd name="connsiteX35" fmla="*/ 2234 w 4459850"/>
              <a:gd name="connsiteY35" fmla="*/ 4464050 h 4464050"/>
              <a:gd name="connsiteX36" fmla="*/ 0 w 4459850"/>
              <a:gd name="connsiteY36" fmla="*/ 4464050 h 4464050"/>
              <a:gd name="connsiteX37" fmla="*/ 0 w 4459850"/>
              <a:gd name="connsiteY37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292030 w 4459850"/>
              <a:gd name="connsiteY12" fmla="*/ 3893419 h 4464050"/>
              <a:gd name="connsiteX13" fmla="*/ 2794835 w 4459850"/>
              <a:gd name="connsiteY13" fmla="*/ 4464050 h 4464050"/>
              <a:gd name="connsiteX14" fmla="*/ 2793443 w 4459850"/>
              <a:gd name="connsiteY14" fmla="*/ 4464050 h 4464050"/>
              <a:gd name="connsiteX15" fmla="*/ 2292030 w 4459850"/>
              <a:gd name="connsiteY15" fmla="*/ 3893419 h 4464050"/>
              <a:gd name="connsiteX16" fmla="*/ 1672385 w 4459850"/>
              <a:gd name="connsiteY16" fmla="*/ 0 h 4464050"/>
              <a:gd name="connsiteX17" fmla="*/ 1673781 w 4459850"/>
              <a:gd name="connsiteY17" fmla="*/ 0 h 4464050"/>
              <a:gd name="connsiteX18" fmla="*/ 2175191 w 4459850"/>
              <a:gd name="connsiteY18" fmla="*/ 570628 h 4464050"/>
              <a:gd name="connsiteX19" fmla="*/ 2175191 w 4459850"/>
              <a:gd name="connsiteY19" fmla="*/ 3893320 h 4464050"/>
              <a:gd name="connsiteX20" fmla="*/ 1673690 w 4459850"/>
              <a:gd name="connsiteY20" fmla="*/ 4464050 h 4464050"/>
              <a:gd name="connsiteX21" fmla="*/ 1672385 w 4459850"/>
              <a:gd name="connsiteY21" fmla="*/ 4464050 h 4464050"/>
              <a:gd name="connsiteX22" fmla="*/ 1672385 w 4459850"/>
              <a:gd name="connsiteY22" fmla="*/ 0 h 4464050"/>
              <a:gd name="connsiteX23" fmla="*/ 923822 w 4459850"/>
              <a:gd name="connsiteY23" fmla="*/ 0 h 4464050"/>
              <a:gd name="connsiteX24" fmla="*/ 925575 w 4459850"/>
              <a:gd name="connsiteY24" fmla="*/ 0 h 4464050"/>
              <a:gd name="connsiteX25" fmla="*/ 1555348 w 4459850"/>
              <a:gd name="connsiteY25" fmla="*/ 570628 h 4464050"/>
              <a:gd name="connsiteX26" fmla="*/ 1555348 w 4459850"/>
              <a:gd name="connsiteY26" fmla="*/ 3893320 h 4464050"/>
              <a:gd name="connsiteX27" fmla="*/ 925461 w 4459850"/>
              <a:gd name="connsiteY27" fmla="*/ 4464050 h 4464050"/>
              <a:gd name="connsiteX28" fmla="*/ 923822 w 4459850"/>
              <a:gd name="connsiteY28" fmla="*/ 4464050 h 4464050"/>
              <a:gd name="connsiteX29" fmla="*/ 923822 w 4459850"/>
              <a:gd name="connsiteY29" fmla="*/ 0 h 4464050"/>
              <a:gd name="connsiteX30" fmla="*/ 0 w 4459850"/>
              <a:gd name="connsiteY30" fmla="*/ 0 h 4464050"/>
              <a:gd name="connsiteX31" fmla="*/ 2239 w 4459850"/>
              <a:gd name="connsiteY31" fmla="*/ 0 h 4464050"/>
              <a:gd name="connsiteX32" fmla="*/ 806883 w 4459850"/>
              <a:gd name="connsiteY32" fmla="*/ 570628 h 4464050"/>
              <a:gd name="connsiteX33" fmla="*/ 806883 w 4459850"/>
              <a:gd name="connsiteY33" fmla="*/ 3893419 h 4464050"/>
              <a:gd name="connsiteX34" fmla="*/ 2234 w 4459850"/>
              <a:gd name="connsiteY34" fmla="*/ 4464050 h 4464050"/>
              <a:gd name="connsiteX35" fmla="*/ 0 w 4459850"/>
              <a:gd name="connsiteY35" fmla="*/ 4464050 h 4464050"/>
              <a:gd name="connsiteX36" fmla="*/ 0 w 4459850"/>
              <a:gd name="connsiteY36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793443 w 4459850"/>
              <a:gd name="connsiteY12" fmla="*/ 4464050 h 4464050"/>
              <a:gd name="connsiteX13" fmla="*/ 2794835 w 4459850"/>
              <a:gd name="connsiteY13" fmla="*/ 4464050 h 4464050"/>
              <a:gd name="connsiteX14" fmla="*/ 2793443 w 4459850"/>
              <a:gd name="connsiteY14" fmla="*/ 4464050 h 4464050"/>
              <a:gd name="connsiteX15" fmla="*/ 1672385 w 4459850"/>
              <a:gd name="connsiteY15" fmla="*/ 0 h 4464050"/>
              <a:gd name="connsiteX16" fmla="*/ 1673781 w 4459850"/>
              <a:gd name="connsiteY16" fmla="*/ 0 h 4464050"/>
              <a:gd name="connsiteX17" fmla="*/ 2175191 w 4459850"/>
              <a:gd name="connsiteY17" fmla="*/ 570628 h 4464050"/>
              <a:gd name="connsiteX18" fmla="*/ 2175191 w 4459850"/>
              <a:gd name="connsiteY18" fmla="*/ 3893320 h 4464050"/>
              <a:gd name="connsiteX19" fmla="*/ 1673690 w 4459850"/>
              <a:gd name="connsiteY19" fmla="*/ 4464050 h 4464050"/>
              <a:gd name="connsiteX20" fmla="*/ 1672385 w 4459850"/>
              <a:gd name="connsiteY20" fmla="*/ 4464050 h 4464050"/>
              <a:gd name="connsiteX21" fmla="*/ 1672385 w 4459850"/>
              <a:gd name="connsiteY21" fmla="*/ 0 h 4464050"/>
              <a:gd name="connsiteX22" fmla="*/ 923822 w 4459850"/>
              <a:gd name="connsiteY22" fmla="*/ 0 h 4464050"/>
              <a:gd name="connsiteX23" fmla="*/ 925575 w 4459850"/>
              <a:gd name="connsiteY23" fmla="*/ 0 h 4464050"/>
              <a:gd name="connsiteX24" fmla="*/ 1555348 w 4459850"/>
              <a:gd name="connsiteY24" fmla="*/ 570628 h 4464050"/>
              <a:gd name="connsiteX25" fmla="*/ 1555348 w 4459850"/>
              <a:gd name="connsiteY25" fmla="*/ 3893320 h 4464050"/>
              <a:gd name="connsiteX26" fmla="*/ 925461 w 4459850"/>
              <a:gd name="connsiteY26" fmla="*/ 4464050 h 4464050"/>
              <a:gd name="connsiteX27" fmla="*/ 923822 w 4459850"/>
              <a:gd name="connsiteY27" fmla="*/ 4464050 h 4464050"/>
              <a:gd name="connsiteX28" fmla="*/ 923822 w 4459850"/>
              <a:gd name="connsiteY28" fmla="*/ 0 h 4464050"/>
              <a:gd name="connsiteX29" fmla="*/ 0 w 4459850"/>
              <a:gd name="connsiteY29" fmla="*/ 0 h 4464050"/>
              <a:gd name="connsiteX30" fmla="*/ 2239 w 4459850"/>
              <a:gd name="connsiteY30" fmla="*/ 0 h 4464050"/>
              <a:gd name="connsiteX31" fmla="*/ 806883 w 4459850"/>
              <a:gd name="connsiteY31" fmla="*/ 570628 h 4464050"/>
              <a:gd name="connsiteX32" fmla="*/ 806883 w 4459850"/>
              <a:gd name="connsiteY32" fmla="*/ 3893419 h 4464050"/>
              <a:gd name="connsiteX33" fmla="*/ 2234 w 4459850"/>
              <a:gd name="connsiteY33" fmla="*/ 4464050 h 4464050"/>
              <a:gd name="connsiteX34" fmla="*/ 0 w 4459850"/>
              <a:gd name="connsiteY34" fmla="*/ 4464050 h 4464050"/>
              <a:gd name="connsiteX35" fmla="*/ 0 w 4459850"/>
              <a:gd name="connsiteY35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1672385 w 4459850"/>
              <a:gd name="connsiteY12" fmla="*/ 0 h 4464050"/>
              <a:gd name="connsiteX13" fmla="*/ 1673781 w 4459850"/>
              <a:gd name="connsiteY13" fmla="*/ 0 h 4464050"/>
              <a:gd name="connsiteX14" fmla="*/ 2175191 w 4459850"/>
              <a:gd name="connsiteY14" fmla="*/ 570628 h 4464050"/>
              <a:gd name="connsiteX15" fmla="*/ 2175191 w 4459850"/>
              <a:gd name="connsiteY15" fmla="*/ 3893320 h 4464050"/>
              <a:gd name="connsiteX16" fmla="*/ 1673690 w 4459850"/>
              <a:gd name="connsiteY16" fmla="*/ 4464050 h 4464050"/>
              <a:gd name="connsiteX17" fmla="*/ 1672385 w 4459850"/>
              <a:gd name="connsiteY17" fmla="*/ 4464050 h 4464050"/>
              <a:gd name="connsiteX18" fmla="*/ 1672385 w 4459850"/>
              <a:gd name="connsiteY18" fmla="*/ 0 h 4464050"/>
              <a:gd name="connsiteX19" fmla="*/ 923822 w 4459850"/>
              <a:gd name="connsiteY19" fmla="*/ 0 h 4464050"/>
              <a:gd name="connsiteX20" fmla="*/ 925575 w 4459850"/>
              <a:gd name="connsiteY20" fmla="*/ 0 h 4464050"/>
              <a:gd name="connsiteX21" fmla="*/ 1555348 w 4459850"/>
              <a:gd name="connsiteY21" fmla="*/ 570628 h 4464050"/>
              <a:gd name="connsiteX22" fmla="*/ 1555348 w 4459850"/>
              <a:gd name="connsiteY22" fmla="*/ 3893320 h 4464050"/>
              <a:gd name="connsiteX23" fmla="*/ 925461 w 4459850"/>
              <a:gd name="connsiteY23" fmla="*/ 4464050 h 4464050"/>
              <a:gd name="connsiteX24" fmla="*/ 923822 w 4459850"/>
              <a:gd name="connsiteY24" fmla="*/ 4464050 h 4464050"/>
              <a:gd name="connsiteX25" fmla="*/ 923822 w 4459850"/>
              <a:gd name="connsiteY25" fmla="*/ 0 h 4464050"/>
              <a:gd name="connsiteX26" fmla="*/ 0 w 4459850"/>
              <a:gd name="connsiteY26" fmla="*/ 0 h 4464050"/>
              <a:gd name="connsiteX27" fmla="*/ 2239 w 4459850"/>
              <a:gd name="connsiteY27" fmla="*/ 0 h 4464050"/>
              <a:gd name="connsiteX28" fmla="*/ 806883 w 4459850"/>
              <a:gd name="connsiteY28" fmla="*/ 570628 h 4464050"/>
              <a:gd name="connsiteX29" fmla="*/ 806883 w 4459850"/>
              <a:gd name="connsiteY29" fmla="*/ 3893419 h 4464050"/>
              <a:gd name="connsiteX30" fmla="*/ 2234 w 4459850"/>
              <a:gd name="connsiteY30" fmla="*/ 4464050 h 4464050"/>
              <a:gd name="connsiteX31" fmla="*/ 0 w 4459850"/>
              <a:gd name="connsiteY31" fmla="*/ 4464050 h 4464050"/>
              <a:gd name="connsiteX32" fmla="*/ 0 w 4459850"/>
              <a:gd name="connsiteY32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3893419 h 4464050"/>
              <a:gd name="connsiteX9" fmla="*/ 2911872 w 4459850"/>
              <a:gd name="connsiteY9" fmla="*/ 570628 h 4464050"/>
              <a:gd name="connsiteX10" fmla="*/ 3541647 w 4459850"/>
              <a:gd name="connsiteY10" fmla="*/ 0 h 4464050"/>
              <a:gd name="connsiteX11" fmla="*/ 1672385 w 4459850"/>
              <a:gd name="connsiteY11" fmla="*/ 0 h 4464050"/>
              <a:gd name="connsiteX12" fmla="*/ 1673781 w 4459850"/>
              <a:gd name="connsiteY12" fmla="*/ 0 h 4464050"/>
              <a:gd name="connsiteX13" fmla="*/ 2175191 w 4459850"/>
              <a:gd name="connsiteY13" fmla="*/ 570628 h 4464050"/>
              <a:gd name="connsiteX14" fmla="*/ 2175191 w 4459850"/>
              <a:gd name="connsiteY14" fmla="*/ 3893320 h 4464050"/>
              <a:gd name="connsiteX15" fmla="*/ 1673690 w 4459850"/>
              <a:gd name="connsiteY15" fmla="*/ 4464050 h 4464050"/>
              <a:gd name="connsiteX16" fmla="*/ 1672385 w 4459850"/>
              <a:gd name="connsiteY16" fmla="*/ 4464050 h 4464050"/>
              <a:gd name="connsiteX17" fmla="*/ 1672385 w 4459850"/>
              <a:gd name="connsiteY17" fmla="*/ 0 h 4464050"/>
              <a:gd name="connsiteX18" fmla="*/ 923822 w 4459850"/>
              <a:gd name="connsiteY18" fmla="*/ 0 h 4464050"/>
              <a:gd name="connsiteX19" fmla="*/ 925575 w 4459850"/>
              <a:gd name="connsiteY19" fmla="*/ 0 h 4464050"/>
              <a:gd name="connsiteX20" fmla="*/ 1555348 w 4459850"/>
              <a:gd name="connsiteY20" fmla="*/ 570628 h 4464050"/>
              <a:gd name="connsiteX21" fmla="*/ 1555348 w 4459850"/>
              <a:gd name="connsiteY21" fmla="*/ 3893320 h 4464050"/>
              <a:gd name="connsiteX22" fmla="*/ 925461 w 4459850"/>
              <a:gd name="connsiteY22" fmla="*/ 4464050 h 4464050"/>
              <a:gd name="connsiteX23" fmla="*/ 923822 w 4459850"/>
              <a:gd name="connsiteY23" fmla="*/ 4464050 h 4464050"/>
              <a:gd name="connsiteX24" fmla="*/ 923822 w 4459850"/>
              <a:gd name="connsiteY24" fmla="*/ 0 h 4464050"/>
              <a:gd name="connsiteX25" fmla="*/ 0 w 4459850"/>
              <a:gd name="connsiteY25" fmla="*/ 0 h 4464050"/>
              <a:gd name="connsiteX26" fmla="*/ 2239 w 4459850"/>
              <a:gd name="connsiteY26" fmla="*/ 0 h 4464050"/>
              <a:gd name="connsiteX27" fmla="*/ 806883 w 4459850"/>
              <a:gd name="connsiteY27" fmla="*/ 570628 h 4464050"/>
              <a:gd name="connsiteX28" fmla="*/ 806883 w 4459850"/>
              <a:gd name="connsiteY28" fmla="*/ 3893419 h 4464050"/>
              <a:gd name="connsiteX29" fmla="*/ 2234 w 4459850"/>
              <a:gd name="connsiteY29" fmla="*/ 4464050 h 4464050"/>
              <a:gd name="connsiteX30" fmla="*/ 0 w 4459850"/>
              <a:gd name="connsiteY30" fmla="*/ 4464050 h 4464050"/>
              <a:gd name="connsiteX31" fmla="*/ 0 w 4459850"/>
              <a:gd name="connsiteY31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570628 h 4464050"/>
              <a:gd name="connsiteX9" fmla="*/ 3541647 w 4459850"/>
              <a:gd name="connsiteY9" fmla="*/ 0 h 4464050"/>
              <a:gd name="connsiteX10" fmla="*/ 1672385 w 4459850"/>
              <a:gd name="connsiteY10" fmla="*/ 0 h 4464050"/>
              <a:gd name="connsiteX11" fmla="*/ 1673781 w 4459850"/>
              <a:gd name="connsiteY11" fmla="*/ 0 h 4464050"/>
              <a:gd name="connsiteX12" fmla="*/ 2175191 w 4459850"/>
              <a:gd name="connsiteY12" fmla="*/ 570628 h 4464050"/>
              <a:gd name="connsiteX13" fmla="*/ 2175191 w 4459850"/>
              <a:gd name="connsiteY13" fmla="*/ 3893320 h 4464050"/>
              <a:gd name="connsiteX14" fmla="*/ 1673690 w 4459850"/>
              <a:gd name="connsiteY14" fmla="*/ 4464050 h 4464050"/>
              <a:gd name="connsiteX15" fmla="*/ 1672385 w 4459850"/>
              <a:gd name="connsiteY15" fmla="*/ 4464050 h 4464050"/>
              <a:gd name="connsiteX16" fmla="*/ 1672385 w 4459850"/>
              <a:gd name="connsiteY16" fmla="*/ 0 h 4464050"/>
              <a:gd name="connsiteX17" fmla="*/ 923822 w 4459850"/>
              <a:gd name="connsiteY17" fmla="*/ 0 h 4464050"/>
              <a:gd name="connsiteX18" fmla="*/ 925575 w 4459850"/>
              <a:gd name="connsiteY18" fmla="*/ 0 h 4464050"/>
              <a:gd name="connsiteX19" fmla="*/ 1555348 w 4459850"/>
              <a:gd name="connsiteY19" fmla="*/ 570628 h 4464050"/>
              <a:gd name="connsiteX20" fmla="*/ 1555348 w 4459850"/>
              <a:gd name="connsiteY20" fmla="*/ 3893320 h 4464050"/>
              <a:gd name="connsiteX21" fmla="*/ 925461 w 4459850"/>
              <a:gd name="connsiteY21" fmla="*/ 4464050 h 4464050"/>
              <a:gd name="connsiteX22" fmla="*/ 923822 w 4459850"/>
              <a:gd name="connsiteY22" fmla="*/ 4464050 h 4464050"/>
              <a:gd name="connsiteX23" fmla="*/ 923822 w 4459850"/>
              <a:gd name="connsiteY23" fmla="*/ 0 h 4464050"/>
              <a:gd name="connsiteX24" fmla="*/ 0 w 4459850"/>
              <a:gd name="connsiteY24" fmla="*/ 0 h 4464050"/>
              <a:gd name="connsiteX25" fmla="*/ 2239 w 4459850"/>
              <a:gd name="connsiteY25" fmla="*/ 0 h 4464050"/>
              <a:gd name="connsiteX26" fmla="*/ 806883 w 4459850"/>
              <a:gd name="connsiteY26" fmla="*/ 570628 h 4464050"/>
              <a:gd name="connsiteX27" fmla="*/ 806883 w 4459850"/>
              <a:gd name="connsiteY27" fmla="*/ 3893419 h 4464050"/>
              <a:gd name="connsiteX28" fmla="*/ 2234 w 4459850"/>
              <a:gd name="connsiteY28" fmla="*/ 4464050 h 4464050"/>
              <a:gd name="connsiteX29" fmla="*/ 0 w 4459850"/>
              <a:gd name="connsiteY29" fmla="*/ 4464050 h 4464050"/>
              <a:gd name="connsiteX30" fmla="*/ 0 w 4459850"/>
              <a:gd name="connsiteY30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19994 w 4459850"/>
              <a:gd name="connsiteY5" fmla="*/ 28871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570628 h 4464050"/>
              <a:gd name="connsiteX9" fmla="*/ 3519994 w 4459850"/>
              <a:gd name="connsiteY9" fmla="*/ 28871 h 4464050"/>
              <a:gd name="connsiteX10" fmla="*/ 1672385 w 4459850"/>
              <a:gd name="connsiteY10" fmla="*/ 0 h 4464050"/>
              <a:gd name="connsiteX11" fmla="*/ 1673781 w 4459850"/>
              <a:gd name="connsiteY11" fmla="*/ 0 h 4464050"/>
              <a:gd name="connsiteX12" fmla="*/ 2175191 w 4459850"/>
              <a:gd name="connsiteY12" fmla="*/ 570628 h 4464050"/>
              <a:gd name="connsiteX13" fmla="*/ 2175191 w 4459850"/>
              <a:gd name="connsiteY13" fmla="*/ 3893320 h 4464050"/>
              <a:gd name="connsiteX14" fmla="*/ 1673690 w 4459850"/>
              <a:gd name="connsiteY14" fmla="*/ 4464050 h 4464050"/>
              <a:gd name="connsiteX15" fmla="*/ 1672385 w 4459850"/>
              <a:gd name="connsiteY15" fmla="*/ 4464050 h 4464050"/>
              <a:gd name="connsiteX16" fmla="*/ 1672385 w 4459850"/>
              <a:gd name="connsiteY16" fmla="*/ 0 h 4464050"/>
              <a:gd name="connsiteX17" fmla="*/ 923822 w 4459850"/>
              <a:gd name="connsiteY17" fmla="*/ 0 h 4464050"/>
              <a:gd name="connsiteX18" fmla="*/ 925575 w 4459850"/>
              <a:gd name="connsiteY18" fmla="*/ 0 h 4464050"/>
              <a:gd name="connsiteX19" fmla="*/ 1555348 w 4459850"/>
              <a:gd name="connsiteY19" fmla="*/ 570628 h 4464050"/>
              <a:gd name="connsiteX20" fmla="*/ 1555348 w 4459850"/>
              <a:gd name="connsiteY20" fmla="*/ 3893320 h 4464050"/>
              <a:gd name="connsiteX21" fmla="*/ 925461 w 4459850"/>
              <a:gd name="connsiteY21" fmla="*/ 4464050 h 4464050"/>
              <a:gd name="connsiteX22" fmla="*/ 923822 w 4459850"/>
              <a:gd name="connsiteY22" fmla="*/ 4464050 h 4464050"/>
              <a:gd name="connsiteX23" fmla="*/ 923822 w 4459850"/>
              <a:gd name="connsiteY23" fmla="*/ 0 h 4464050"/>
              <a:gd name="connsiteX24" fmla="*/ 0 w 4459850"/>
              <a:gd name="connsiteY24" fmla="*/ 0 h 4464050"/>
              <a:gd name="connsiteX25" fmla="*/ 2239 w 4459850"/>
              <a:gd name="connsiteY25" fmla="*/ 0 h 4464050"/>
              <a:gd name="connsiteX26" fmla="*/ 806883 w 4459850"/>
              <a:gd name="connsiteY26" fmla="*/ 570628 h 4464050"/>
              <a:gd name="connsiteX27" fmla="*/ 806883 w 4459850"/>
              <a:gd name="connsiteY27" fmla="*/ 3893419 h 4464050"/>
              <a:gd name="connsiteX28" fmla="*/ 2234 w 4459850"/>
              <a:gd name="connsiteY28" fmla="*/ 4464050 h 4464050"/>
              <a:gd name="connsiteX29" fmla="*/ 0 w 4459850"/>
              <a:gd name="connsiteY29" fmla="*/ 4464050 h 4464050"/>
              <a:gd name="connsiteX30" fmla="*/ 0 w 4459850"/>
              <a:gd name="connsiteY30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2911872 w 4459850"/>
              <a:gd name="connsiteY5" fmla="*/ 570628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570628 h 4464050"/>
              <a:gd name="connsiteX9" fmla="*/ 1672385 w 4459850"/>
              <a:gd name="connsiteY9" fmla="*/ 0 h 4464050"/>
              <a:gd name="connsiteX10" fmla="*/ 1673781 w 4459850"/>
              <a:gd name="connsiteY10" fmla="*/ 0 h 4464050"/>
              <a:gd name="connsiteX11" fmla="*/ 2175191 w 4459850"/>
              <a:gd name="connsiteY11" fmla="*/ 570628 h 4464050"/>
              <a:gd name="connsiteX12" fmla="*/ 2175191 w 4459850"/>
              <a:gd name="connsiteY12" fmla="*/ 3893320 h 4464050"/>
              <a:gd name="connsiteX13" fmla="*/ 1673690 w 4459850"/>
              <a:gd name="connsiteY13" fmla="*/ 4464050 h 4464050"/>
              <a:gd name="connsiteX14" fmla="*/ 1672385 w 4459850"/>
              <a:gd name="connsiteY14" fmla="*/ 4464050 h 4464050"/>
              <a:gd name="connsiteX15" fmla="*/ 1672385 w 4459850"/>
              <a:gd name="connsiteY15" fmla="*/ 0 h 4464050"/>
              <a:gd name="connsiteX16" fmla="*/ 923822 w 4459850"/>
              <a:gd name="connsiteY16" fmla="*/ 0 h 4464050"/>
              <a:gd name="connsiteX17" fmla="*/ 925575 w 4459850"/>
              <a:gd name="connsiteY17" fmla="*/ 0 h 4464050"/>
              <a:gd name="connsiteX18" fmla="*/ 1555348 w 4459850"/>
              <a:gd name="connsiteY18" fmla="*/ 570628 h 4464050"/>
              <a:gd name="connsiteX19" fmla="*/ 1555348 w 4459850"/>
              <a:gd name="connsiteY19" fmla="*/ 3893320 h 4464050"/>
              <a:gd name="connsiteX20" fmla="*/ 925461 w 4459850"/>
              <a:gd name="connsiteY20" fmla="*/ 4464050 h 4464050"/>
              <a:gd name="connsiteX21" fmla="*/ 923822 w 4459850"/>
              <a:gd name="connsiteY21" fmla="*/ 4464050 h 4464050"/>
              <a:gd name="connsiteX22" fmla="*/ 923822 w 4459850"/>
              <a:gd name="connsiteY22" fmla="*/ 0 h 4464050"/>
              <a:gd name="connsiteX23" fmla="*/ 0 w 4459850"/>
              <a:gd name="connsiteY23" fmla="*/ 0 h 4464050"/>
              <a:gd name="connsiteX24" fmla="*/ 2239 w 4459850"/>
              <a:gd name="connsiteY24" fmla="*/ 0 h 4464050"/>
              <a:gd name="connsiteX25" fmla="*/ 806883 w 4459850"/>
              <a:gd name="connsiteY25" fmla="*/ 570628 h 4464050"/>
              <a:gd name="connsiteX26" fmla="*/ 806883 w 4459850"/>
              <a:gd name="connsiteY26" fmla="*/ 3893419 h 4464050"/>
              <a:gd name="connsiteX27" fmla="*/ 2234 w 4459850"/>
              <a:gd name="connsiteY27" fmla="*/ 4464050 h 4464050"/>
              <a:gd name="connsiteX28" fmla="*/ 0 w 4459850"/>
              <a:gd name="connsiteY28" fmla="*/ 4464050 h 4464050"/>
              <a:gd name="connsiteX29" fmla="*/ 0 w 4459850"/>
              <a:gd name="connsiteY29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2911872 w 4459850"/>
              <a:gd name="connsiteY5" fmla="*/ 570628 h 4464050"/>
              <a:gd name="connsiteX6" fmla="*/ 3543399 w 4459850"/>
              <a:gd name="connsiteY6" fmla="*/ 4464050 h 4464050"/>
              <a:gd name="connsiteX7" fmla="*/ 2911872 w 4459850"/>
              <a:gd name="connsiteY7" fmla="*/ 570628 h 4464050"/>
              <a:gd name="connsiteX8" fmla="*/ 1672385 w 4459850"/>
              <a:gd name="connsiteY8" fmla="*/ 0 h 4464050"/>
              <a:gd name="connsiteX9" fmla="*/ 1673781 w 4459850"/>
              <a:gd name="connsiteY9" fmla="*/ 0 h 4464050"/>
              <a:gd name="connsiteX10" fmla="*/ 2175191 w 4459850"/>
              <a:gd name="connsiteY10" fmla="*/ 570628 h 4464050"/>
              <a:gd name="connsiteX11" fmla="*/ 2175191 w 4459850"/>
              <a:gd name="connsiteY11" fmla="*/ 3893320 h 4464050"/>
              <a:gd name="connsiteX12" fmla="*/ 1673690 w 4459850"/>
              <a:gd name="connsiteY12" fmla="*/ 4464050 h 4464050"/>
              <a:gd name="connsiteX13" fmla="*/ 1672385 w 4459850"/>
              <a:gd name="connsiteY13" fmla="*/ 4464050 h 4464050"/>
              <a:gd name="connsiteX14" fmla="*/ 1672385 w 4459850"/>
              <a:gd name="connsiteY14" fmla="*/ 0 h 4464050"/>
              <a:gd name="connsiteX15" fmla="*/ 923822 w 4459850"/>
              <a:gd name="connsiteY15" fmla="*/ 0 h 4464050"/>
              <a:gd name="connsiteX16" fmla="*/ 925575 w 4459850"/>
              <a:gd name="connsiteY16" fmla="*/ 0 h 4464050"/>
              <a:gd name="connsiteX17" fmla="*/ 1555348 w 4459850"/>
              <a:gd name="connsiteY17" fmla="*/ 570628 h 4464050"/>
              <a:gd name="connsiteX18" fmla="*/ 1555348 w 4459850"/>
              <a:gd name="connsiteY18" fmla="*/ 3893320 h 4464050"/>
              <a:gd name="connsiteX19" fmla="*/ 925461 w 4459850"/>
              <a:gd name="connsiteY19" fmla="*/ 4464050 h 4464050"/>
              <a:gd name="connsiteX20" fmla="*/ 923822 w 4459850"/>
              <a:gd name="connsiteY20" fmla="*/ 4464050 h 4464050"/>
              <a:gd name="connsiteX21" fmla="*/ 923822 w 4459850"/>
              <a:gd name="connsiteY21" fmla="*/ 0 h 4464050"/>
              <a:gd name="connsiteX22" fmla="*/ 0 w 4459850"/>
              <a:gd name="connsiteY22" fmla="*/ 0 h 4464050"/>
              <a:gd name="connsiteX23" fmla="*/ 2239 w 4459850"/>
              <a:gd name="connsiteY23" fmla="*/ 0 h 4464050"/>
              <a:gd name="connsiteX24" fmla="*/ 806883 w 4459850"/>
              <a:gd name="connsiteY24" fmla="*/ 570628 h 4464050"/>
              <a:gd name="connsiteX25" fmla="*/ 806883 w 4459850"/>
              <a:gd name="connsiteY25" fmla="*/ 3893419 h 4464050"/>
              <a:gd name="connsiteX26" fmla="*/ 2234 w 4459850"/>
              <a:gd name="connsiteY26" fmla="*/ 4464050 h 4464050"/>
              <a:gd name="connsiteX27" fmla="*/ 0 w 4459850"/>
              <a:gd name="connsiteY27" fmla="*/ 4464050 h 4464050"/>
              <a:gd name="connsiteX28" fmla="*/ 0 w 4459850"/>
              <a:gd name="connsiteY28" fmla="*/ 0 h 4464050"/>
              <a:gd name="connsiteX0" fmla="*/ 3660238 w 4459850"/>
              <a:gd name="connsiteY0" fmla="*/ 570628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2911872 w 4459850"/>
              <a:gd name="connsiteY4" fmla="*/ 570628 h 4464050"/>
              <a:gd name="connsiteX5" fmla="*/ 3543399 w 4459850"/>
              <a:gd name="connsiteY5" fmla="*/ 4464050 h 4464050"/>
              <a:gd name="connsiteX6" fmla="*/ 2911872 w 4459850"/>
              <a:gd name="connsiteY6" fmla="*/ 570628 h 4464050"/>
              <a:gd name="connsiteX7" fmla="*/ 1672385 w 4459850"/>
              <a:gd name="connsiteY7" fmla="*/ 0 h 4464050"/>
              <a:gd name="connsiteX8" fmla="*/ 1673781 w 4459850"/>
              <a:gd name="connsiteY8" fmla="*/ 0 h 4464050"/>
              <a:gd name="connsiteX9" fmla="*/ 2175191 w 4459850"/>
              <a:gd name="connsiteY9" fmla="*/ 570628 h 4464050"/>
              <a:gd name="connsiteX10" fmla="*/ 2175191 w 4459850"/>
              <a:gd name="connsiteY10" fmla="*/ 3893320 h 4464050"/>
              <a:gd name="connsiteX11" fmla="*/ 1673690 w 4459850"/>
              <a:gd name="connsiteY11" fmla="*/ 4464050 h 4464050"/>
              <a:gd name="connsiteX12" fmla="*/ 1672385 w 4459850"/>
              <a:gd name="connsiteY12" fmla="*/ 4464050 h 4464050"/>
              <a:gd name="connsiteX13" fmla="*/ 1672385 w 4459850"/>
              <a:gd name="connsiteY13" fmla="*/ 0 h 4464050"/>
              <a:gd name="connsiteX14" fmla="*/ 923822 w 4459850"/>
              <a:gd name="connsiteY14" fmla="*/ 0 h 4464050"/>
              <a:gd name="connsiteX15" fmla="*/ 925575 w 4459850"/>
              <a:gd name="connsiteY15" fmla="*/ 0 h 4464050"/>
              <a:gd name="connsiteX16" fmla="*/ 1555348 w 4459850"/>
              <a:gd name="connsiteY16" fmla="*/ 570628 h 4464050"/>
              <a:gd name="connsiteX17" fmla="*/ 1555348 w 4459850"/>
              <a:gd name="connsiteY17" fmla="*/ 3893320 h 4464050"/>
              <a:gd name="connsiteX18" fmla="*/ 925461 w 4459850"/>
              <a:gd name="connsiteY18" fmla="*/ 4464050 h 4464050"/>
              <a:gd name="connsiteX19" fmla="*/ 923822 w 4459850"/>
              <a:gd name="connsiteY19" fmla="*/ 4464050 h 4464050"/>
              <a:gd name="connsiteX20" fmla="*/ 923822 w 4459850"/>
              <a:gd name="connsiteY20" fmla="*/ 0 h 4464050"/>
              <a:gd name="connsiteX21" fmla="*/ 0 w 4459850"/>
              <a:gd name="connsiteY21" fmla="*/ 0 h 4464050"/>
              <a:gd name="connsiteX22" fmla="*/ 2239 w 4459850"/>
              <a:gd name="connsiteY22" fmla="*/ 0 h 4464050"/>
              <a:gd name="connsiteX23" fmla="*/ 806883 w 4459850"/>
              <a:gd name="connsiteY23" fmla="*/ 570628 h 4464050"/>
              <a:gd name="connsiteX24" fmla="*/ 806883 w 4459850"/>
              <a:gd name="connsiteY24" fmla="*/ 3893419 h 4464050"/>
              <a:gd name="connsiteX25" fmla="*/ 2234 w 4459850"/>
              <a:gd name="connsiteY25" fmla="*/ 4464050 h 4464050"/>
              <a:gd name="connsiteX26" fmla="*/ 0 w 4459850"/>
              <a:gd name="connsiteY26" fmla="*/ 4464050 h 4464050"/>
              <a:gd name="connsiteX27" fmla="*/ 0 w 4459850"/>
              <a:gd name="connsiteY27" fmla="*/ 0 h 4464050"/>
              <a:gd name="connsiteX0" fmla="*/ 3660238 w 4459850"/>
              <a:gd name="connsiteY0" fmla="*/ 570628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1672385 w 4459850"/>
              <a:gd name="connsiteY4" fmla="*/ 0 h 4464050"/>
              <a:gd name="connsiteX5" fmla="*/ 1673781 w 4459850"/>
              <a:gd name="connsiteY5" fmla="*/ 0 h 4464050"/>
              <a:gd name="connsiteX6" fmla="*/ 2175191 w 4459850"/>
              <a:gd name="connsiteY6" fmla="*/ 570628 h 4464050"/>
              <a:gd name="connsiteX7" fmla="*/ 2175191 w 4459850"/>
              <a:gd name="connsiteY7" fmla="*/ 3893320 h 4464050"/>
              <a:gd name="connsiteX8" fmla="*/ 1673690 w 4459850"/>
              <a:gd name="connsiteY8" fmla="*/ 4464050 h 4464050"/>
              <a:gd name="connsiteX9" fmla="*/ 1672385 w 4459850"/>
              <a:gd name="connsiteY9" fmla="*/ 4464050 h 4464050"/>
              <a:gd name="connsiteX10" fmla="*/ 1672385 w 4459850"/>
              <a:gd name="connsiteY10" fmla="*/ 0 h 4464050"/>
              <a:gd name="connsiteX11" fmla="*/ 923822 w 4459850"/>
              <a:gd name="connsiteY11" fmla="*/ 0 h 4464050"/>
              <a:gd name="connsiteX12" fmla="*/ 925575 w 4459850"/>
              <a:gd name="connsiteY12" fmla="*/ 0 h 4464050"/>
              <a:gd name="connsiteX13" fmla="*/ 1555348 w 4459850"/>
              <a:gd name="connsiteY13" fmla="*/ 570628 h 4464050"/>
              <a:gd name="connsiteX14" fmla="*/ 1555348 w 4459850"/>
              <a:gd name="connsiteY14" fmla="*/ 3893320 h 4464050"/>
              <a:gd name="connsiteX15" fmla="*/ 925461 w 4459850"/>
              <a:gd name="connsiteY15" fmla="*/ 4464050 h 4464050"/>
              <a:gd name="connsiteX16" fmla="*/ 923822 w 4459850"/>
              <a:gd name="connsiteY16" fmla="*/ 4464050 h 4464050"/>
              <a:gd name="connsiteX17" fmla="*/ 923822 w 4459850"/>
              <a:gd name="connsiteY17" fmla="*/ 0 h 4464050"/>
              <a:gd name="connsiteX18" fmla="*/ 0 w 4459850"/>
              <a:gd name="connsiteY18" fmla="*/ 0 h 4464050"/>
              <a:gd name="connsiteX19" fmla="*/ 2239 w 4459850"/>
              <a:gd name="connsiteY19" fmla="*/ 0 h 4464050"/>
              <a:gd name="connsiteX20" fmla="*/ 806883 w 4459850"/>
              <a:gd name="connsiteY20" fmla="*/ 570628 h 4464050"/>
              <a:gd name="connsiteX21" fmla="*/ 806883 w 4459850"/>
              <a:gd name="connsiteY21" fmla="*/ 3893419 h 4464050"/>
              <a:gd name="connsiteX22" fmla="*/ 2234 w 4459850"/>
              <a:gd name="connsiteY22" fmla="*/ 4464050 h 4464050"/>
              <a:gd name="connsiteX23" fmla="*/ 0 w 4459850"/>
              <a:gd name="connsiteY23" fmla="*/ 4464050 h 4464050"/>
              <a:gd name="connsiteX24" fmla="*/ 0 w 4459850"/>
              <a:gd name="connsiteY24" fmla="*/ 0 h 4464050"/>
              <a:gd name="connsiteX0" fmla="*/ 3660238 w 4459850"/>
              <a:gd name="connsiteY0" fmla="*/ 389341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1672385 w 4459850"/>
              <a:gd name="connsiteY3" fmla="*/ 0 h 4464050"/>
              <a:gd name="connsiteX4" fmla="*/ 1673781 w 4459850"/>
              <a:gd name="connsiteY4" fmla="*/ 0 h 4464050"/>
              <a:gd name="connsiteX5" fmla="*/ 2175191 w 4459850"/>
              <a:gd name="connsiteY5" fmla="*/ 570628 h 4464050"/>
              <a:gd name="connsiteX6" fmla="*/ 2175191 w 4459850"/>
              <a:gd name="connsiteY6" fmla="*/ 3893320 h 4464050"/>
              <a:gd name="connsiteX7" fmla="*/ 1673690 w 4459850"/>
              <a:gd name="connsiteY7" fmla="*/ 4464050 h 4464050"/>
              <a:gd name="connsiteX8" fmla="*/ 1672385 w 4459850"/>
              <a:gd name="connsiteY8" fmla="*/ 4464050 h 4464050"/>
              <a:gd name="connsiteX9" fmla="*/ 1672385 w 4459850"/>
              <a:gd name="connsiteY9" fmla="*/ 0 h 4464050"/>
              <a:gd name="connsiteX10" fmla="*/ 923822 w 4459850"/>
              <a:gd name="connsiteY10" fmla="*/ 0 h 4464050"/>
              <a:gd name="connsiteX11" fmla="*/ 925575 w 4459850"/>
              <a:gd name="connsiteY11" fmla="*/ 0 h 4464050"/>
              <a:gd name="connsiteX12" fmla="*/ 1555348 w 4459850"/>
              <a:gd name="connsiteY12" fmla="*/ 570628 h 4464050"/>
              <a:gd name="connsiteX13" fmla="*/ 1555348 w 4459850"/>
              <a:gd name="connsiteY13" fmla="*/ 3893320 h 4464050"/>
              <a:gd name="connsiteX14" fmla="*/ 925461 w 4459850"/>
              <a:gd name="connsiteY14" fmla="*/ 4464050 h 4464050"/>
              <a:gd name="connsiteX15" fmla="*/ 923822 w 4459850"/>
              <a:gd name="connsiteY15" fmla="*/ 4464050 h 4464050"/>
              <a:gd name="connsiteX16" fmla="*/ 923822 w 4459850"/>
              <a:gd name="connsiteY16" fmla="*/ 0 h 4464050"/>
              <a:gd name="connsiteX17" fmla="*/ 0 w 4459850"/>
              <a:gd name="connsiteY17" fmla="*/ 0 h 4464050"/>
              <a:gd name="connsiteX18" fmla="*/ 2239 w 4459850"/>
              <a:gd name="connsiteY18" fmla="*/ 0 h 4464050"/>
              <a:gd name="connsiteX19" fmla="*/ 806883 w 4459850"/>
              <a:gd name="connsiteY19" fmla="*/ 570628 h 4464050"/>
              <a:gd name="connsiteX20" fmla="*/ 806883 w 4459850"/>
              <a:gd name="connsiteY20" fmla="*/ 3893419 h 4464050"/>
              <a:gd name="connsiteX21" fmla="*/ 2234 w 4459850"/>
              <a:gd name="connsiteY21" fmla="*/ 4464050 h 4464050"/>
              <a:gd name="connsiteX22" fmla="*/ 0 w 4459850"/>
              <a:gd name="connsiteY22" fmla="*/ 4464050 h 4464050"/>
              <a:gd name="connsiteX23" fmla="*/ 0 w 4459850"/>
              <a:gd name="connsiteY23" fmla="*/ 0 h 4464050"/>
              <a:gd name="connsiteX0" fmla="*/ 1672385 w 2175191"/>
              <a:gd name="connsiteY0" fmla="*/ 0 h 4464050"/>
              <a:gd name="connsiteX1" fmla="*/ 1673781 w 2175191"/>
              <a:gd name="connsiteY1" fmla="*/ 0 h 4464050"/>
              <a:gd name="connsiteX2" fmla="*/ 2175191 w 2175191"/>
              <a:gd name="connsiteY2" fmla="*/ 570628 h 4464050"/>
              <a:gd name="connsiteX3" fmla="*/ 2175191 w 2175191"/>
              <a:gd name="connsiteY3" fmla="*/ 3893320 h 4464050"/>
              <a:gd name="connsiteX4" fmla="*/ 1673690 w 2175191"/>
              <a:gd name="connsiteY4" fmla="*/ 4464050 h 4464050"/>
              <a:gd name="connsiteX5" fmla="*/ 1672385 w 2175191"/>
              <a:gd name="connsiteY5" fmla="*/ 4464050 h 4464050"/>
              <a:gd name="connsiteX6" fmla="*/ 1672385 w 2175191"/>
              <a:gd name="connsiteY6" fmla="*/ 0 h 4464050"/>
              <a:gd name="connsiteX7" fmla="*/ 923822 w 2175191"/>
              <a:gd name="connsiteY7" fmla="*/ 0 h 4464050"/>
              <a:gd name="connsiteX8" fmla="*/ 925575 w 2175191"/>
              <a:gd name="connsiteY8" fmla="*/ 0 h 4464050"/>
              <a:gd name="connsiteX9" fmla="*/ 1555348 w 2175191"/>
              <a:gd name="connsiteY9" fmla="*/ 570628 h 4464050"/>
              <a:gd name="connsiteX10" fmla="*/ 1555348 w 2175191"/>
              <a:gd name="connsiteY10" fmla="*/ 3893320 h 4464050"/>
              <a:gd name="connsiteX11" fmla="*/ 925461 w 2175191"/>
              <a:gd name="connsiteY11" fmla="*/ 4464050 h 4464050"/>
              <a:gd name="connsiteX12" fmla="*/ 923822 w 2175191"/>
              <a:gd name="connsiteY12" fmla="*/ 4464050 h 4464050"/>
              <a:gd name="connsiteX13" fmla="*/ 923822 w 2175191"/>
              <a:gd name="connsiteY13" fmla="*/ 0 h 4464050"/>
              <a:gd name="connsiteX14" fmla="*/ 0 w 2175191"/>
              <a:gd name="connsiteY14" fmla="*/ 0 h 4464050"/>
              <a:gd name="connsiteX15" fmla="*/ 2239 w 2175191"/>
              <a:gd name="connsiteY15" fmla="*/ 0 h 4464050"/>
              <a:gd name="connsiteX16" fmla="*/ 806883 w 2175191"/>
              <a:gd name="connsiteY16" fmla="*/ 570628 h 4464050"/>
              <a:gd name="connsiteX17" fmla="*/ 806883 w 2175191"/>
              <a:gd name="connsiteY17" fmla="*/ 3893419 h 4464050"/>
              <a:gd name="connsiteX18" fmla="*/ 2234 w 2175191"/>
              <a:gd name="connsiteY18" fmla="*/ 4464050 h 4464050"/>
              <a:gd name="connsiteX19" fmla="*/ 0 w 2175191"/>
              <a:gd name="connsiteY19" fmla="*/ 4464050 h 4464050"/>
              <a:gd name="connsiteX20" fmla="*/ 0 w 2175191"/>
              <a:gd name="connsiteY20" fmla="*/ 0 h 446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175191" h="4464050">
                <a:moveTo>
                  <a:pt x="1672385" y="0"/>
                </a:moveTo>
                <a:lnTo>
                  <a:pt x="1673781" y="0"/>
                </a:lnTo>
                <a:lnTo>
                  <a:pt x="2175191" y="570628"/>
                </a:lnTo>
                <a:lnTo>
                  <a:pt x="2175191" y="3893320"/>
                </a:lnTo>
                <a:lnTo>
                  <a:pt x="1673690" y="4464050"/>
                </a:lnTo>
                <a:lnTo>
                  <a:pt x="1672385" y="4464050"/>
                </a:lnTo>
                <a:lnTo>
                  <a:pt x="1672385" y="0"/>
                </a:lnTo>
                <a:close/>
                <a:moveTo>
                  <a:pt x="923822" y="0"/>
                </a:moveTo>
                <a:lnTo>
                  <a:pt x="925575" y="0"/>
                </a:lnTo>
                <a:lnTo>
                  <a:pt x="1555348" y="570628"/>
                </a:lnTo>
                <a:lnTo>
                  <a:pt x="1555348" y="3893320"/>
                </a:lnTo>
                <a:lnTo>
                  <a:pt x="925461" y="4464050"/>
                </a:lnTo>
                <a:lnTo>
                  <a:pt x="923822" y="4464050"/>
                </a:lnTo>
                <a:lnTo>
                  <a:pt x="923822" y="0"/>
                </a:lnTo>
                <a:close/>
                <a:moveTo>
                  <a:pt x="0" y="0"/>
                </a:moveTo>
                <a:lnTo>
                  <a:pt x="2239" y="0"/>
                </a:lnTo>
                <a:lnTo>
                  <a:pt x="806883" y="570628"/>
                </a:lnTo>
                <a:lnTo>
                  <a:pt x="806883" y="3893419"/>
                </a:lnTo>
                <a:lnTo>
                  <a:pt x="2234" y="4464050"/>
                </a:lnTo>
                <a:lnTo>
                  <a:pt x="0" y="446405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insert picture</a:t>
            </a: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D7EBD8C5-104A-B100-D7E9-563B58A89C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801" y="3718131"/>
            <a:ext cx="4045514" cy="49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100">
                <a:solidFill>
                  <a:schemeClr val="tx2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</p:spTree>
    <p:extLst>
      <p:ext uri="{BB962C8B-B14F-4D97-AF65-F5344CB8AC3E}">
        <p14:creationId xmlns:p14="http://schemas.microsoft.com/office/powerpoint/2010/main" val="3984583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4">
          <p15:clr>
            <a:srgbClr val="F26B43"/>
          </p15:clr>
        </p15:guide>
        <p15:guide id="2" orient="horz" pos="518">
          <p15:clr>
            <a:srgbClr val="547EBF"/>
          </p15:clr>
        </p15:guide>
        <p15:guide id="3" orient="horz" pos="270">
          <p15:clr>
            <a:srgbClr val="547EBF"/>
          </p15:clr>
        </p15:guide>
        <p15:guide id="4" pos="272">
          <p15:clr>
            <a:srgbClr val="547EBF"/>
          </p15:clr>
        </p15:guide>
        <p15:guide id="5" orient="horz" pos="2822">
          <p15:clr>
            <a:srgbClr val="F26B43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abel Cover -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918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918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sp>
        <p:nvSpPr>
          <p:cNvPr id="2" name="Picture Placeholder 29">
            <a:extLst>
              <a:ext uri="{FF2B5EF4-FFF2-40B4-BE49-F238E27FC236}">
                <a16:creationId xmlns:a16="http://schemas.microsoft.com/office/drawing/2014/main" id="{CB11B69D-F8A0-EBDF-8FDF-F6C59FB328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409628" y="411164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4" name="Picture Placeholder 29">
            <a:extLst>
              <a:ext uri="{FF2B5EF4-FFF2-40B4-BE49-F238E27FC236}">
                <a16:creationId xmlns:a16="http://schemas.microsoft.com/office/drawing/2014/main" id="{162FE58C-01D8-66F8-BE7C-FC85A10D21A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5926" y="824441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5" name="Picture Placeholder 29">
            <a:extLst>
              <a:ext uri="{FF2B5EF4-FFF2-40B4-BE49-F238E27FC236}">
                <a16:creationId xmlns:a16="http://schemas.microsoft.com/office/drawing/2014/main" id="{6557B76C-2C46-F1C3-C076-3C704E6244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622224" y="1237718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247D551-215C-3522-32F8-C9D8DCC05F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  <p:pic>
        <p:nvPicPr>
          <p:cNvPr id="6" name="Graphic 25">
            <a:extLst>
              <a:ext uri="{FF2B5EF4-FFF2-40B4-BE49-F238E27FC236}">
                <a16:creationId xmlns:a16="http://schemas.microsoft.com/office/drawing/2014/main" id="{67DB0DC4-D12C-5AA2-02A0-0D5D7A69C52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4975" y="4483099"/>
            <a:ext cx="1425722" cy="469901"/>
          </a:xfrm>
          <a:prstGeom prst="rect">
            <a:avLst/>
          </a:prstGeom>
        </p:spPr>
      </p:pic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43555F8-B12E-C767-8141-6E0D96A4116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801" y="3718131"/>
            <a:ext cx="4045514" cy="49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100">
                <a:solidFill>
                  <a:schemeClr val="tx2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</p:spTree>
    <p:extLst>
      <p:ext uri="{BB962C8B-B14F-4D97-AF65-F5344CB8AC3E}">
        <p14:creationId xmlns:p14="http://schemas.microsoft.com/office/powerpoint/2010/main" val="4207553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4">
          <p15:clr>
            <a:srgbClr val="F26B43"/>
          </p15:clr>
        </p15:guide>
        <p15:guide id="2" orient="horz" pos="518">
          <p15:clr>
            <a:srgbClr val="547EBF"/>
          </p15:clr>
        </p15:guide>
        <p15:guide id="3" orient="horz" pos="270">
          <p15:clr>
            <a:srgbClr val="547EBF"/>
          </p15:clr>
        </p15:guide>
        <p15:guide id="4" pos="272">
          <p15:clr>
            <a:srgbClr val="547EBF"/>
          </p15:clr>
        </p15:guide>
        <p15:guide id="5" orient="horz" pos="2822">
          <p15:clr>
            <a:srgbClr val="F26B43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ogo Cover -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933D8557-708A-63F8-E3F0-46300F55EE9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481746" y="411163"/>
            <a:ext cx="3230454" cy="3889376"/>
          </a:xfrm>
          <a:custGeom>
            <a:avLst/>
            <a:gdLst>
              <a:gd name="connsiteX0" fmla="*/ 1287193 w 3289788"/>
              <a:gd name="connsiteY0" fmla="*/ 0 h 3960812"/>
              <a:gd name="connsiteX1" fmla="*/ 3289788 w 3289788"/>
              <a:gd name="connsiteY1" fmla="*/ 0 h 3960812"/>
              <a:gd name="connsiteX2" fmla="*/ 3289788 w 3289788"/>
              <a:gd name="connsiteY2" fmla="*/ 2670127 h 3960812"/>
              <a:gd name="connsiteX3" fmla="*/ 3032351 w 3289788"/>
              <a:gd name="connsiteY3" fmla="*/ 2670127 h 3960812"/>
              <a:gd name="connsiteX4" fmla="*/ 3032351 w 3289788"/>
              <a:gd name="connsiteY4" fmla="*/ 2928264 h 3960812"/>
              <a:gd name="connsiteX5" fmla="*/ 2774912 w 3289788"/>
              <a:gd name="connsiteY5" fmla="*/ 2928264 h 3960812"/>
              <a:gd name="connsiteX6" fmla="*/ 2774912 w 3289788"/>
              <a:gd name="connsiteY6" fmla="*/ 3186401 h 3960812"/>
              <a:gd name="connsiteX7" fmla="*/ 2517473 w 3289788"/>
              <a:gd name="connsiteY7" fmla="*/ 3186401 h 3960812"/>
              <a:gd name="connsiteX8" fmla="*/ 2517473 w 3289788"/>
              <a:gd name="connsiteY8" fmla="*/ 3444538 h 3960812"/>
              <a:gd name="connsiteX9" fmla="*/ 2260034 w 3289788"/>
              <a:gd name="connsiteY9" fmla="*/ 3444538 h 3960812"/>
              <a:gd name="connsiteX10" fmla="*/ 2260034 w 3289788"/>
              <a:gd name="connsiteY10" fmla="*/ 3702675 h 3960812"/>
              <a:gd name="connsiteX11" fmla="*/ 2002595 w 3289788"/>
              <a:gd name="connsiteY11" fmla="*/ 3702675 h 3960812"/>
              <a:gd name="connsiteX12" fmla="*/ 2002595 w 3289788"/>
              <a:gd name="connsiteY12" fmla="*/ 3960812 h 3960812"/>
              <a:gd name="connsiteX13" fmla="*/ 0 w 3289788"/>
              <a:gd name="connsiteY13" fmla="*/ 3960812 h 3960812"/>
              <a:gd name="connsiteX14" fmla="*/ 0 w 3289788"/>
              <a:gd name="connsiteY14" fmla="*/ 1290685 h 3960812"/>
              <a:gd name="connsiteX15" fmla="*/ 257439 w 3289788"/>
              <a:gd name="connsiteY15" fmla="*/ 1290685 h 3960812"/>
              <a:gd name="connsiteX16" fmla="*/ 257439 w 3289788"/>
              <a:gd name="connsiteY16" fmla="*/ 1032548 h 3960812"/>
              <a:gd name="connsiteX17" fmla="*/ 514878 w 3289788"/>
              <a:gd name="connsiteY17" fmla="*/ 1032548 h 3960812"/>
              <a:gd name="connsiteX18" fmla="*/ 514878 w 3289788"/>
              <a:gd name="connsiteY18" fmla="*/ 774411 h 3960812"/>
              <a:gd name="connsiteX19" fmla="*/ 772317 w 3289788"/>
              <a:gd name="connsiteY19" fmla="*/ 774411 h 3960812"/>
              <a:gd name="connsiteX20" fmla="*/ 772317 w 3289788"/>
              <a:gd name="connsiteY20" fmla="*/ 516274 h 3960812"/>
              <a:gd name="connsiteX21" fmla="*/ 1029756 w 3289788"/>
              <a:gd name="connsiteY21" fmla="*/ 516274 h 3960812"/>
              <a:gd name="connsiteX22" fmla="*/ 1029756 w 3289788"/>
              <a:gd name="connsiteY22" fmla="*/ 258137 h 3960812"/>
              <a:gd name="connsiteX23" fmla="*/ 1287193 w 3289788"/>
              <a:gd name="connsiteY23" fmla="*/ 258137 h 3960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289788" h="3960812">
                <a:moveTo>
                  <a:pt x="1287193" y="0"/>
                </a:moveTo>
                <a:lnTo>
                  <a:pt x="3289788" y="0"/>
                </a:lnTo>
                <a:lnTo>
                  <a:pt x="3289788" y="2670127"/>
                </a:lnTo>
                <a:lnTo>
                  <a:pt x="3032351" y="2670127"/>
                </a:lnTo>
                <a:lnTo>
                  <a:pt x="3032351" y="2928264"/>
                </a:lnTo>
                <a:lnTo>
                  <a:pt x="2774912" y="2928264"/>
                </a:lnTo>
                <a:lnTo>
                  <a:pt x="2774912" y="3186401"/>
                </a:lnTo>
                <a:lnTo>
                  <a:pt x="2517473" y="3186401"/>
                </a:lnTo>
                <a:lnTo>
                  <a:pt x="2517473" y="3444538"/>
                </a:lnTo>
                <a:lnTo>
                  <a:pt x="2260034" y="3444538"/>
                </a:lnTo>
                <a:lnTo>
                  <a:pt x="2260034" y="3702675"/>
                </a:lnTo>
                <a:lnTo>
                  <a:pt x="2002595" y="3702675"/>
                </a:lnTo>
                <a:lnTo>
                  <a:pt x="2002595" y="3960812"/>
                </a:lnTo>
                <a:lnTo>
                  <a:pt x="0" y="3960812"/>
                </a:lnTo>
                <a:lnTo>
                  <a:pt x="0" y="1290685"/>
                </a:lnTo>
                <a:lnTo>
                  <a:pt x="257439" y="1290685"/>
                </a:lnTo>
                <a:lnTo>
                  <a:pt x="257439" y="1032548"/>
                </a:lnTo>
                <a:lnTo>
                  <a:pt x="514878" y="1032548"/>
                </a:lnTo>
                <a:lnTo>
                  <a:pt x="514878" y="774411"/>
                </a:lnTo>
                <a:lnTo>
                  <a:pt x="772317" y="774411"/>
                </a:lnTo>
                <a:lnTo>
                  <a:pt x="772317" y="516274"/>
                </a:lnTo>
                <a:lnTo>
                  <a:pt x="1029756" y="516274"/>
                </a:lnTo>
                <a:lnTo>
                  <a:pt x="1029756" y="258137"/>
                </a:lnTo>
                <a:lnTo>
                  <a:pt x="1287193" y="25813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Insert pictur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918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918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58931E8-9625-77F8-7BBF-076FE66C8C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9A0C37B1-9835-EA65-F046-D589B12A0D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801" y="3718131"/>
            <a:ext cx="4045514" cy="49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100">
                <a:solidFill>
                  <a:schemeClr val="tx2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</p:spTree>
    <p:extLst>
      <p:ext uri="{BB962C8B-B14F-4D97-AF65-F5344CB8AC3E}">
        <p14:creationId xmlns:p14="http://schemas.microsoft.com/office/powerpoint/2010/main" val="4030704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094">
          <p15:clr>
            <a:srgbClr val="547EBF"/>
          </p15:clr>
        </p15:guide>
        <p15:guide id="3" orient="horz" pos="2822">
          <p15:clr>
            <a:srgbClr val="547EBF"/>
          </p15:clr>
        </p15:guide>
        <p15:guide id="4" pos="272">
          <p15:clr>
            <a:srgbClr val="547EBF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ogo Cover -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918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918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sp>
        <p:nvSpPr>
          <p:cNvPr id="2" name="Picture Placeholder 48">
            <a:extLst>
              <a:ext uri="{FF2B5EF4-FFF2-40B4-BE49-F238E27FC236}">
                <a16:creationId xmlns:a16="http://schemas.microsoft.com/office/drawing/2014/main" id="{A7551421-354E-1441-AEFF-FA5F95FCD9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935426" y="626385"/>
            <a:ext cx="3770985" cy="3709078"/>
          </a:xfrm>
          <a:custGeom>
            <a:avLst/>
            <a:gdLst>
              <a:gd name="connsiteX0" fmla="*/ 446456 w 3478814"/>
              <a:gd name="connsiteY0" fmla="*/ 2633052 h 3421704"/>
              <a:gd name="connsiteX1" fmla="*/ 3033202 w 3478814"/>
              <a:gd name="connsiteY1" fmla="*/ 2633052 h 3421704"/>
              <a:gd name="connsiteX2" fmla="*/ 3478814 w 3478814"/>
              <a:gd name="connsiteY2" fmla="*/ 3421704 h 3421704"/>
              <a:gd name="connsiteX3" fmla="*/ 0 w 3478814"/>
              <a:gd name="connsiteY3" fmla="*/ 3421704 h 3421704"/>
              <a:gd name="connsiteX4" fmla="*/ 446456 w 3478814"/>
              <a:gd name="connsiteY4" fmla="*/ 1755087 h 3421704"/>
              <a:gd name="connsiteX5" fmla="*/ 3033202 w 3478814"/>
              <a:gd name="connsiteY5" fmla="*/ 1755087 h 3421704"/>
              <a:gd name="connsiteX6" fmla="*/ 3478814 w 3478814"/>
              <a:gd name="connsiteY6" fmla="*/ 2543739 h 3421704"/>
              <a:gd name="connsiteX7" fmla="*/ 0 w 3478814"/>
              <a:gd name="connsiteY7" fmla="*/ 2543739 h 3421704"/>
              <a:gd name="connsiteX8" fmla="*/ 446456 w 3478814"/>
              <a:gd name="connsiteY8" fmla="*/ 877965 h 3421704"/>
              <a:gd name="connsiteX9" fmla="*/ 3033202 w 3478814"/>
              <a:gd name="connsiteY9" fmla="*/ 877965 h 3421704"/>
              <a:gd name="connsiteX10" fmla="*/ 3478814 w 3478814"/>
              <a:gd name="connsiteY10" fmla="*/ 1666617 h 3421704"/>
              <a:gd name="connsiteX11" fmla="*/ 0 w 3478814"/>
              <a:gd name="connsiteY11" fmla="*/ 1666617 h 3421704"/>
              <a:gd name="connsiteX12" fmla="*/ 446456 w 3478814"/>
              <a:gd name="connsiteY12" fmla="*/ 0 h 3421704"/>
              <a:gd name="connsiteX13" fmla="*/ 3033202 w 3478814"/>
              <a:gd name="connsiteY13" fmla="*/ 0 h 3421704"/>
              <a:gd name="connsiteX14" fmla="*/ 3478814 w 3478814"/>
              <a:gd name="connsiteY14" fmla="*/ 788652 h 3421704"/>
              <a:gd name="connsiteX15" fmla="*/ 0 w 3478814"/>
              <a:gd name="connsiteY15" fmla="*/ 788652 h 3421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78814" h="3421704">
                <a:moveTo>
                  <a:pt x="446456" y="2633052"/>
                </a:moveTo>
                <a:lnTo>
                  <a:pt x="3033202" y="2633052"/>
                </a:lnTo>
                <a:lnTo>
                  <a:pt x="3478814" y="3421704"/>
                </a:lnTo>
                <a:lnTo>
                  <a:pt x="0" y="3421704"/>
                </a:lnTo>
                <a:close/>
                <a:moveTo>
                  <a:pt x="446456" y="1755087"/>
                </a:moveTo>
                <a:lnTo>
                  <a:pt x="3033202" y="1755087"/>
                </a:lnTo>
                <a:lnTo>
                  <a:pt x="3478814" y="2543739"/>
                </a:lnTo>
                <a:lnTo>
                  <a:pt x="0" y="2543739"/>
                </a:lnTo>
                <a:close/>
                <a:moveTo>
                  <a:pt x="446456" y="877965"/>
                </a:moveTo>
                <a:lnTo>
                  <a:pt x="3033202" y="877965"/>
                </a:lnTo>
                <a:lnTo>
                  <a:pt x="3478814" y="1666617"/>
                </a:lnTo>
                <a:lnTo>
                  <a:pt x="0" y="1666617"/>
                </a:lnTo>
                <a:close/>
                <a:moveTo>
                  <a:pt x="446456" y="0"/>
                </a:moveTo>
                <a:lnTo>
                  <a:pt x="3033202" y="0"/>
                </a:lnTo>
                <a:lnTo>
                  <a:pt x="3478814" y="788652"/>
                </a:lnTo>
                <a:lnTo>
                  <a:pt x="0" y="78865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algn="ctr"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ED9150D-1613-F146-E32A-0CB05393DF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AE49EE8A-71FA-1A2D-615E-D5800DC60D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801" y="3718131"/>
            <a:ext cx="4045514" cy="49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100">
                <a:solidFill>
                  <a:schemeClr val="tx2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</p:spTree>
    <p:extLst>
      <p:ext uri="{BB962C8B-B14F-4D97-AF65-F5344CB8AC3E}">
        <p14:creationId xmlns:p14="http://schemas.microsoft.com/office/powerpoint/2010/main" val="3186803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822">
          <p15:clr>
            <a:srgbClr val="547EBF"/>
          </p15:clr>
        </p15:guide>
        <p15:guide id="3" orient="horz" pos="3094">
          <p15:clr>
            <a:srgbClr val="547EBF"/>
          </p15:clr>
        </p15:guide>
        <p15:guide id="4" pos="272">
          <p15:clr>
            <a:srgbClr val="547EBF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ogo Cover -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918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918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sp>
        <p:nvSpPr>
          <p:cNvPr id="3" name="Picture Placeholder 19">
            <a:extLst>
              <a:ext uri="{FF2B5EF4-FFF2-40B4-BE49-F238E27FC236}">
                <a16:creationId xmlns:a16="http://schemas.microsoft.com/office/drawing/2014/main" id="{225CEF58-569D-9BFC-90A5-8CD7AAA050F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028600" y="411164"/>
            <a:ext cx="3682128" cy="3924299"/>
          </a:xfrm>
          <a:custGeom>
            <a:avLst/>
            <a:gdLst>
              <a:gd name="connsiteX0" fmla="*/ 0 w 4171131"/>
              <a:gd name="connsiteY0" fmla="*/ 1 h 4445464"/>
              <a:gd name="connsiteX1" fmla="*/ 943908 w 4171131"/>
              <a:gd name="connsiteY1" fmla="*/ 569527 h 4445464"/>
              <a:gd name="connsiteX2" fmla="*/ 943908 w 4171131"/>
              <a:gd name="connsiteY2" fmla="*/ 3875937 h 4445464"/>
              <a:gd name="connsiteX3" fmla="*/ 0 w 4171131"/>
              <a:gd name="connsiteY3" fmla="*/ 4445464 h 4445464"/>
              <a:gd name="connsiteX4" fmla="*/ 3227322 w 4171131"/>
              <a:gd name="connsiteY4" fmla="*/ 0 h 4445464"/>
              <a:gd name="connsiteX5" fmla="*/ 4171131 w 4171131"/>
              <a:gd name="connsiteY5" fmla="*/ 569527 h 4445464"/>
              <a:gd name="connsiteX6" fmla="*/ 4171131 w 4171131"/>
              <a:gd name="connsiteY6" fmla="*/ 3875937 h 4445464"/>
              <a:gd name="connsiteX7" fmla="*/ 3227322 w 4171131"/>
              <a:gd name="connsiteY7" fmla="*/ 4445464 h 4445464"/>
              <a:gd name="connsiteX8" fmla="*/ 2131400 w 4171131"/>
              <a:gd name="connsiteY8" fmla="*/ 0 h 4445464"/>
              <a:gd name="connsiteX9" fmla="*/ 3105631 w 4171131"/>
              <a:gd name="connsiteY9" fmla="*/ 569527 h 4445464"/>
              <a:gd name="connsiteX10" fmla="*/ 3105631 w 4171131"/>
              <a:gd name="connsiteY10" fmla="*/ 3875937 h 4445464"/>
              <a:gd name="connsiteX11" fmla="*/ 2131400 w 4171131"/>
              <a:gd name="connsiteY11" fmla="*/ 4445464 h 4445464"/>
              <a:gd name="connsiteX12" fmla="*/ 1065699 w 4171131"/>
              <a:gd name="connsiteY12" fmla="*/ 0 h 4445464"/>
              <a:gd name="connsiteX13" fmla="*/ 2040031 w 4171131"/>
              <a:gd name="connsiteY13" fmla="*/ 569527 h 4445464"/>
              <a:gd name="connsiteX14" fmla="*/ 2040031 w 4171131"/>
              <a:gd name="connsiteY14" fmla="*/ 3875937 h 4445464"/>
              <a:gd name="connsiteX15" fmla="*/ 1065699 w 4171131"/>
              <a:gd name="connsiteY15" fmla="*/ 4445464 h 4445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171131" h="4445464">
                <a:moveTo>
                  <a:pt x="0" y="1"/>
                </a:moveTo>
                <a:lnTo>
                  <a:pt x="943908" y="569527"/>
                </a:lnTo>
                <a:lnTo>
                  <a:pt x="943908" y="3875937"/>
                </a:lnTo>
                <a:lnTo>
                  <a:pt x="0" y="4445464"/>
                </a:lnTo>
                <a:close/>
                <a:moveTo>
                  <a:pt x="3227322" y="0"/>
                </a:moveTo>
                <a:lnTo>
                  <a:pt x="4171131" y="569527"/>
                </a:lnTo>
                <a:lnTo>
                  <a:pt x="4171131" y="3875937"/>
                </a:lnTo>
                <a:lnTo>
                  <a:pt x="3227322" y="4445464"/>
                </a:lnTo>
                <a:close/>
                <a:moveTo>
                  <a:pt x="2131400" y="0"/>
                </a:moveTo>
                <a:lnTo>
                  <a:pt x="3105631" y="569527"/>
                </a:lnTo>
                <a:lnTo>
                  <a:pt x="3105631" y="3875937"/>
                </a:lnTo>
                <a:lnTo>
                  <a:pt x="2131400" y="4445464"/>
                </a:lnTo>
                <a:close/>
                <a:moveTo>
                  <a:pt x="1065699" y="0"/>
                </a:moveTo>
                <a:lnTo>
                  <a:pt x="2040031" y="569527"/>
                </a:lnTo>
                <a:lnTo>
                  <a:pt x="2040031" y="3875937"/>
                </a:lnTo>
                <a:lnTo>
                  <a:pt x="1065699" y="444546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insert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94ACFC5-D53C-B324-758C-416E26F66A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8822C8EB-5145-04CB-A3DF-1246B9DC6B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1" y="3718131"/>
            <a:ext cx="4045514" cy="49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100">
                <a:solidFill>
                  <a:schemeClr val="tx2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</p:spTree>
    <p:extLst>
      <p:ext uri="{BB962C8B-B14F-4D97-AF65-F5344CB8AC3E}">
        <p14:creationId xmlns:p14="http://schemas.microsoft.com/office/powerpoint/2010/main" val="1642220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094">
          <p15:clr>
            <a:srgbClr val="547EBF"/>
          </p15:clr>
        </p15:guide>
        <p15:guide id="3" orient="horz" pos="2822">
          <p15:clr>
            <a:srgbClr val="547EBF"/>
          </p15:clr>
        </p15:guide>
        <p15:guide id="4" pos="272">
          <p15:clr>
            <a:srgbClr val="547EBF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ogo Cover -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704107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704107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2357A365-B981-CBBC-D4A8-737E6786D8F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800442" y="428625"/>
            <a:ext cx="1905708" cy="3924299"/>
          </a:xfrm>
          <a:custGeom>
            <a:avLst/>
            <a:gdLst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3541647 w 4459850"/>
              <a:gd name="connsiteY4" fmla="*/ 0 h 4464050"/>
              <a:gd name="connsiteX5" fmla="*/ 3543399 w 4459850"/>
              <a:gd name="connsiteY5" fmla="*/ 0 h 4464050"/>
              <a:gd name="connsiteX6" fmla="*/ 3543399 w 4459850"/>
              <a:gd name="connsiteY6" fmla="*/ 4464050 h 4464050"/>
              <a:gd name="connsiteX7" fmla="*/ 3541650 w 4459850"/>
              <a:gd name="connsiteY7" fmla="*/ 4464050 h 4464050"/>
              <a:gd name="connsiteX8" fmla="*/ 2911872 w 4459850"/>
              <a:gd name="connsiteY8" fmla="*/ 3893419 h 4464050"/>
              <a:gd name="connsiteX9" fmla="*/ 2911872 w 4459850"/>
              <a:gd name="connsiteY9" fmla="*/ 570628 h 4464050"/>
              <a:gd name="connsiteX10" fmla="*/ 2793440 w 4459850"/>
              <a:gd name="connsiteY10" fmla="*/ 0 h 4464050"/>
              <a:gd name="connsiteX11" fmla="*/ 2794835 w 4459850"/>
              <a:gd name="connsiteY11" fmla="*/ 0 h 4464050"/>
              <a:gd name="connsiteX12" fmla="*/ 2794835 w 4459850"/>
              <a:gd name="connsiteY12" fmla="*/ 4464050 h 4464050"/>
              <a:gd name="connsiteX13" fmla="*/ 2793443 w 4459850"/>
              <a:gd name="connsiteY13" fmla="*/ 4464050 h 4464050"/>
              <a:gd name="connsiteX14" fmla="*/ 2292030 w 4459850"/>
              <a:gd name="connsiteY14" fmla="*/ 3893419 h 4464050"/>
              <a:gd name="connsiteX15" fmla="*/ 2292030 w 4459850"/>
              <a:gd name="connsiteY15" fmla="*/ 570628 h 4464050"/>
              <a:gd name="connsiteX16" fmla="*/ 1672385 w 4459850"/>
              <a:gd name="connsiteY16" fmla="*/ 0 h 4464050"/>
              <a:gd name="connsiteX17" fmla="*/ 1673781 w 4459850"/>
              <a:gd name="connsiteY17" fmla="*/ 0 h 4464050"/>
              <a:gd name="connsiteX18" fmla="*/ 2175191 w 4459850"/>
              <a:gd name="connsiteY18" fmla="*/ 570628 h 4464050"/>
              <a:gd name="connsiteX19" fmla="*/ 2175191 w 4459850"/>
              <a:gd name="connsiteY19" fmla="*/ 3893320 h 4464050"/>
              <a:gd name="connsiteX20" fmla="*/ 1673690 w 4459850"/>
              <a:gd name="connsiteY20" fmla="*/ 4464050 h 4464050"/>
              <a:gd name="connsiteX21" fmla="*/ 1672385 w 4459850"/>
              <a:gd name="connsiteY21" fmla="*/ 4464050 h 4464050"/>
              <a:gd name="connsiteX22" fmla="*/ 923822 w 4459850"/>
              <a:gd name="connsiteY22" fmla="*/ 0 h 4464050"/>
              <a:gd name="connsiteX23" fmla="*/ 925575 w 4459850"/>
              <a:gd name="connsiteY23" fmla="*/ 0 h 4464050"/>
              <a:gd name="connsiteX24" fmla="*/ 1555348 w 4459850"/>
              <a:gd name="connsiteY24" fmla="*/ 570628 h 4464050"/>
              <a:gd name="connsiteX25" fmla="*/ 1555348 w 4459850"/>
              <a:gd name="connsiteY25" fmla="*/ 3893320 h 4464050"/>
              <a:gd name="connsiteX26" fmla="*/ 925461 w 4459850"/>
              <a:gd name="connsiteY26" fmla="*/ 4464050 h 4464050"/>
              <a:gd name="connsiteX27" fmla="*/ 923822 w 4459850"/>
              <a:gd name="connsiteY27" fmla="*/ 4464050 h 4464050"/>
              <a:gd name="connsiteX28" fmla="*/ 0 w 4459850"/>
              <a:gd name="connsiteY28" fmla="*/ 0 h 4464050"/>
              <a:gd name="connsiteX29" fmla="*/ 2239 w 4459850"/>
              <a:gd name="connsiteY29" fmla="*/ 0 h 4464050"/>
              <a:gd name="connsiteX30" fmla="*/ 806883 w 4459850"/>
              <a:gd name="connsiteY30" fmla="*/ 570628 h 4464050"/>
              <a:gd name="connsiteX31" fmla="*/ 806883 w 4459850"/>
              <a:gd name="connsiteY31" fmla="*/ 3893419 h 4464050"/>
              <a:gd name="connsiteX32" fmla="*/ 2234 w 4459850"/>
              <a:gd name="connsiteY32" fmla="*/ 4464050 h 4464050"/>
              <a:gd name="connsiteX33" fmla="*/ 0 w 4459850"/>
              <a:gd name="connsiteY33" fmla="*/ 446405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793440 w 4459850"/>
              <a:gd name="connsiteY12" fmla="*/ 0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2292030 w 4459850"/>
              <a:gd name="connsiteY17" fmla="*/ 570628 h 4464050"/>
              <a:gd name="connsiteX18" fmla="*/ 2793440 w 4459850"/>
              <a:gd name="connsiteY18" fmla="*/ 0 h 4464050"/>
              <a:gd name="connsiteX19" fmla="*/ 1672385 w 4459850"/>
              <a:gd name="connsiteY19" fmla="*/ 0 h 4464050"/>
              <a:gd name="connsiteX20" fmla="*/ 1673781 w 4459850"/>
              <a:gd name="connsiteY20" fmla="*/ 0 h 4464050"/>
              <a:gd name="connsiteX21" fmla="*/ 2175191 w 4459850"/>
              <a:gd name="connsiteY21" fmla="*/ 570628 h 4464050"/>
              <a:gd name="connsiteX22" fmla="*/ 2175191 w 4459850"/>
              <a:gd name="connsiteY22" fmla="*/ 3893320 h 4464050"/>
              <a:gd name="connsiteX23" fmla="*/ 1673690 w 4459850"/>
              <a:gd name="connsiteY23" fmla="*/ 4464050 h 4464050"/>
              <a:gd name="connsiteX24" fmla="*/ 1672385 w 4459850"/>
              <a:gd name="connsiteY24" fmla="*/ 4464050 h 4464050"/>
              <a:gd name="connsiteX25" fmla="*/ 1672385 w 4459850"/>
              <a:gd name="connsiteY25" fmla="*/ 0 h 4464050"/>
              <a:gd name="connsiteX26" fmla="*/ 923822 w 4459850"/>
              <a:gd name="connsiteY26" fmla="*/ 0 h 4464050"/>
              <a:gd name="connsiteX27" fmla="*/ 925575 w 4459850"/>
              <a:gd name="connsiteY27" fmla="*/ 0 h 4464050"/>
              <a:gd name="connsiteX28" fmla="*/ 1555348 w 4459850"/>
              <a:gd name="connsiteY28" fmla="*/ 570628 h 4464050"/>
              <a:gd name="connsiteX29" fmla="*/ 1555348 w 4459850"/>
              <a:gd name="connsiteY29" fmla="*/ 3893320 h 4464050"/>
              <a:gd name="connsiteX30" fmla="*/ 925461 w 4459850"/>
              <a:gd name="connsiteY30" fmla="*/ 4464050 h 4464050"/>
              <a:gd name="connsiteX31" fmla="*/ 923822 w 4459850"/>
              <a:gd name="connsiteY31" fmla="*/ 4464050 h 4464050"/>
              <a:gd name="connsiteX32" fmla="*/ 923822 w 4459850"/>
              <a:gd name="connsiteY32" fmla="*/ 0 h 4464050"/>
              <a:gd name="connsiteX33" fmla="*/ 0 w 4459850"/>
              <a:gd name="connsiteY33" fmla="*/ 0 h 4464050"/>
              <a:gd name="connsiteX34" fmla="*/ 2239 w 4459850"/>
              <a:gd name="connsiteY34" fmla="*/ 0 h 4464050"/>
              <a:gd name="connsiteX35" fmla="*/ 806883 w 4459850"/>
              <a:gd name="connsiteY35" fmla="*/ 3893419 h 4464050"/>
              <a:gd name="connsiteX36" fmla="*/ 2234 w 4459850"/>
              <a:gd name="connsiteY36" fmla="*/ 4464050 h 4464050"/>
              <a:gd name="connsiteX37" fmla="*/ 0 w 4459850"/>
              <a:gd name="connsiteY37" fmla="*/ 4464050 h 4464050"/>
              <a:gd name="connsiteX38" fmla="*/ 0 w 4459850"/>
              <a:gd name="connsiteY38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793440 w 4459850"/>
              <a:gd name="connsiteY12" fmla="*/ 0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2292030 w 4459850"/>
              <a:gd name="connsiteY17" fmla="*/ 570628 h 4464050"/>
              <a:gd name="connsiteX18" fmla="*/ 2793440 w 4459850"/>
              <a:gd name="connsiteY18" fmla="*/ 0 h 4464050"/>
              <a:gd name="connsiteX19" fmla="*/ 1672385 w 4459850"/>
              <a:gd name="connsiteY19" fmla="*/ 0 h 4464050"/>
              <a:gd name="connsiteX20" fmla="*/ 1673781 w 4459850"/>
              <a:gd name="connsiteY20" fmla="*/ 0 h 4464050"/>
              <a:gd name="connsiteX21" fmla="*/ 2175191 w 4459850"/>
              <a:gd name="connsiteY21" fmla="*/ 570628 h 4464050"/>
              <a:gd name="connsiteX22" fmla="*/ 2175191 w 4459850"/>
              <a:gd name="connsiteY22" fmla="*/ 3893320 h 4464050"/>
              <a:gd name="connsiteX23" fmla="*/ 1673690 w 4459850"/>
              <a:gd name="connsiteY23" fmla="*/ 4464050 h 4464050"/>
              <a:gd name="connsiteX24" fmla="*/ 1672385 w 4459850"/>
              <a:gd name="connsiteY24" fmla="*/ 4464050 h 4464050"/>
              <a:gd name="connsiteX25" fmla="*/ 1672385 w 4459850"/>
              <a:gd name="connsiteY25" fmla="*/ 0 h 4464050"/>
              <a:gd name="connsiteX26" fmla="*/ 923822 w 4459850"/>
              <a:gd name="connsiteY26" fmla="*/ 0 h 4464050"/>
              <a:gd name="connsiteX27" fmla="*/ 925575 w 4459850"/>
              <a:gd name="connsiteY27" fmla="*/ 0 h 4464050"/>
              <a:gd name="connsiteX28" fmla="*/ 1555348 w 4459850"/>
              <a:gd name="connsiteY28" fmla="*/ 570628 h 4464050"/>
              <a:gd name="connsiteX29" fmla="*/ 1555348 w 4459850"/>
              <a:gd name="connsiteY29" fmla="*/ 3893320 h 4464050"/>
              <a:gd name="connsiteX30" fmla="*/ 925461 w 4459850"/>
              <a:gd name="connsiteY30" fmla="*/ 4464050 h 4464050"/>
              <a:gd name="connsiteX31" fmla="*/ 923822 w 4459850"/>
              <a:gd name="connsiteY31" fmla="*/ 4464050 h 4464050"/>
              <a:gd name="connsiteX32" fmla="*/ 923822 w 4459850"/>
              <a:gd name="connsiteY32" fmla="*/ 0 h 4464050"/>
              <a:gd name="connsiteX33" fmla="*/ 0 w 4459850"/>
              <a:gd name="connsiteY33" fmla="*/ 4464050 h 4464050"/>
              <a:gd name="connsiteX34" fmla="*/ 2239 w 4459850"/>
              <a:gd name="connsiteY34" fmla="*/ 0 h 4464050"/>
              <a:gd name="connsiteX35" fmla="*/ 806883 w 4459850"/>
              <a:gd name="connsiteY35" fmla="*/ 3893419 h 4464050"/>
              <a:gd name="connsiteX36" fmla="*/ 2234 w 4459850"/>
              <a:gd name="connsiteY36" fmla="*/ 4464050 h 4464050"/>
              <a:gd name="connsiteX37" fmla="*/ 0 w 4459850"/>
              <a:gd name="connsiteY37" fmla="*/ 4464050 h 4464050"/>
              <a:gd name="connsiteX0" fmla="*/ 4457616 w 4457616"/>
              <a:gd name="connsiteY0" fmla="*/ 3569 h 4464050"/>
              <a:gd name="connsiteX1" fmla="*/ 4457616 w 4457616"/>
              <a:gd name="connsiteY1" fmla="*/ 4460478 h 4464050"/>
              <a:gd name="connsiteX2" fmla="*/ 3658004 w 4457616"/>
              <a:gd name="connsiteY2" fmla="*/ 3893419 h 4464050"/>
              <a:gd name="connsiteX3" fmla="*/ 3658004 w 4457616"/>
              <a:gd name="connsiteY3" fmla="*/ 570628 h 4464050"/>
              <a:gd name="connsiteX4" fmla="*/ 4457616 w 4457616"/>
              <a:gd name="connsiteY4" fmla="*/ 3569 h 4464050"/>
              <a:gd name="connsiteX5" fmla="*/ 3539413 w 4457616"/>
              <a:gd name="connsiteY5" fmla="*/ 0 h 4464050"/>
              <a:gd name="connsiteX6" fmla="*/ 3541165 w 4457616"/>
              <a:gd name="connsiteY6" fmla="*/ 0 h 4464050"/>
              <a:gd name="connsiteX7" fmla="*/ 3541165 w 4457616"/>
              <a:gd name="connsiteY7" fmla="*/ 4464050 h 4464050"/>
              <a:gd name="connsiteX8" fmla="*/ 3539416 w 4457616"/>
              <a:gd name="connsiteY8" fmla="*/ 4464050 h 4464050"/>
              <a:gd name="connsiteX9" fmla="*/ 2909638 w 4457616"/>
              <a:gd name="connsiteY9" fmla="*/ 3893419 h 4464050"/>
              <a:gd name="connsiteX10" fmla="*/ 2909638 w 4457616"/>
              <a:gd name="connsiteY10" fmla="*/ 570628 h 4464050"/>
              <a:gd name="connsiteX11" fmla="*/ 3539413 w 4457616"/>
              <a:gd name="connsiteY11" fmla="*/ 0 h 4464050"/>
              <a:gd name="connsiteX12" fmla="*/ 2791206 w 4457616"/>
              <a:gd name="connsiteY12" fmla="*/ 0 h 4464050"/>
              <a:gd name="connsiteX13" fmla="*/ 2792601 w 4457616"/>
              <a:gd name="connsiteY13" fmla="*/ 0 h 4464050"/>
              <a:gd name="connsiteX14" fmla="*/ 2792601 w 4457616"/>
              <a:gd name="connsiteY14" fmla="*/ 4464050 h 4464050"/>
              <a:gd name="connsiteX15" fmla="*/ 2791209 w 4457616"/>
              <a:gd name="connsiteY15" fmla="*/ 4464050 h 4464050"/>
              <a:gd name="connsiteX16" fmla="*/ 2289796 w 4457616"/>
              <a:gd name="connsiteY16" fmla="*/ 3893419 h 4464050"/>
              <a:gd name="connsiteX17" fmla="*/ 2289796 w 4457616"/>
              <a:gd name="connsiteY17" fmla="*/ 570628 h 4464050"/>
              <a:gd name="connsiteX18" fmla="*/ 2791206 w 4457616"/>
              <a:gd name="connsiteY18" fmla="*/ 0 h 4464050"/>
              <a:gd name="connsiteX19" fmla="*/ 1670151 w 4457616"/>
              <a:gd name="connsiteY19" fmla="*/ 0 h 4464050"/>
              <a:gd name="connsiteX20" fmla="*/ 1671547 w 4457616"/>
              <a:gd name="connsiteY20" fmla="*/ 0 h 4464050"/>
              <a:gd name="connsiteX21" fmla="*/ 2172957 w 4457616"/>
              <a:gd name="connsiteY21" fmla="*/ 570628 h 4464050"/>
              <a:gd name="connsiteX22" fmla="*/ 2172957 w 4457616"/>
              <a:gd name="connsiteY22" fmla="*/ 3893320 h 4464050"/>
              <a:gd name="connsiteX23" fmla="*/ 1671456 w 4457616"/>
              <a:gd name="connsiteY23" fmla="*/ 4464050 h 4464050"/>
              <a:gd name="connsiteX24" fmla="*/ 1670151 w 4457616"/>
              <a:gd name="connsiteY24" fmla="*/ 4464050 h 4464050"/>
              <a:gd name="connsiteX25" fmla="*/ 1670151 w 4457616"/>
              <a:gd name="connsiteY25" fmla="*/ 0 h 4464050"/>
              <a:gd name="connsiteX26" fmla="*/ 921588 w 4457616"/>
              <a:gd name="connsiteY26" fmla="*/ 0 h 4464050"/>
              <a:gd name="connsiteX27" fmla="*/ 923341 w 4457616"/>
              <a:gd name="connsiteY27" fmla="*/ 0 h 4464050"/>
              <a:gd name="connsiteX28" fmla="*/ 1553114 w 4457616"/>
              <a:gd name="connsiteY28" fmla="*/ 570628 h 4464050"/>
              <a:gd name="connsiteX29" fmla="*/ 1553114 w 4457616"/>
              <a:gd name="connsiteY29" fmla="*/ 3893320 h 4464050"/>
              <a:gd name="connsiteX30" fmla="*/ 923227 w 4457616"/>
              <a:gd name="connsiteY30" fmla="*/ 4464050 h 4464050"/>
              <a:gd name="connsiteX31" fmla="*/ 921588 w 4457616"/>
              <a:gd name="connsiteY31" fmla="*/ 4464050 h 4464050"/>
              <a:gd name="connsiteX32" fmla="*/ 921588 w 4457616"/>
              <a:gd name="connsiteY32" fmla="*/ 0 h 4464050"/>
              <a:gd name="connsiteX33" fmla="*/ 0 w 4457616"/>
              <a:gd name="connsiteY33" fmla="*/ 4464050 h 4464050"/>
              <a:gd name="connsiteX34" fmla="*/ 5 w 4457616"/>
              <a:gd name="connsiteY34" fmla="*/ 0 h 4464050"/>
              <a:gd name="connsiteX35" fmla="*/ 804649 w 4457616"/>
              <a:gd name="connsiteY35" fmla="*/ 3893419 h 4464050"/>
              <a:gd name="connsiteX36" fmla="*/ 0 w 4457616"/>
              <a:gd name="connsiteY36" fmla="*/ 4464050 h 4464050"/>
              <a:gd name="connsiteX0" fmla="*/ 4457611 w 4457611"/>
              <a:gd name="connsiteY0" fmla="*/ 3569 h 4464050"/>
              <a:gd name="connsiteX1" fmla="*/ 4457611 w 4457611"/>
              <a:gd name="connsiteY1" fmla="*/ 4460478 h 4464050"/>
              <a:gd name="connsiteX2" fmla="*/ 3657999 w 4457611"/>
              <a:gd name="connsiteY2" fmla="*/ 3893419 h 4464050"/>
              <a:gd name="connsiteX3" fmla="*/ 3657999 w 4457611"/>
              <a:gd name="connsiteY3" fmla="*/ 570628 h 4464050"/>
              <a:gd name="connsiteX4" fmla="*/ 4457611 w 4457611"/>
              <a:gd name="connsiteY4" fmla="*/ 3569 h 4464050"/>
              <a:gd name="connsiteX5" fmla="*/ 3539408 w 4457611"/>
              <a:gd name="connsiteY5" fmla="*/ 0 h 4464050"/>
              <a:gd name="connsiteX6" fmla="*/ 3541160 w 4457611"/>
              <a:gd name="connsiteY6" fmla="*/ 0 h 4464050"/>
              <a:gd name="connsiteX7" fmla="*/ 3541160 w 4457611"/>
              <a:gd name="connsiteY7" fmla="*/ 4464050 h 4464050"/>
              <a:gd name="connsiteX8" fmla="*/ 3539411 w 4457611"/>
              <a:gd name="connsiteY8" fmla="*/ 4464050 h 4464050"/>
              <a:gd name="connsiteX9" fmla="*/ 2909633 w 4457611"/>
              <a:gd name="connsiteY9" fmla="*/ 3893419 h 4464050"/>
              <a:gd name="connsiteX10" fmla="*/ 2909633 w 4457611"/>
              <a:gd name="connsiteY10" fmla="*/ 570628 h 4464050"/>
              <a:gd name="connsiteX11" fmla="*/ 3539408 w 4457611"/>
              <a:gd name="connsiteY11" fmla="*/ 0 h 4464050"/>
              <a:gd name="connsiteX12" fmla="*/ 2791201 w 4457611"/>
              <a:gd name="connsiteY12" fmla="*/ 0 h 4464050"/>
              <a:gd name="connsiteX13" fmla="*/ 2792596 w 4457611"/>
              <a:gd name="connsiteY13" fmla="*/ 0 h 4464050"/>
              <a:gd name="connsiteX14" fmla="*/ 2792596 w 4457611"/>
              <a:gd name="connsiteY14" fmla="*/ 4464050 h 4464050"/>
              <a:gd name="connsiteX15" fmla="*/ 2791204 w 4457611"/>
              <a:gd name="connsiteY15" fmla="*/ 4464050 h 4464050"/>
              <a:gd name="connsiteX16" fmla="*/ 2289791 w 4457611"/>
              <a:gd name="connsiteY16" fmla="*/ 3893419 h 4464050"/>
              <a:gd name="connsiteX17" fmla="*/ 2289791 w 4457611"/>
              <a:gd name="connsiteY17" fmla="*/ 570628 h 4464050"/>
              <a:gd name="connsiteX18" fmla="*/ 2791201 w 4457611"/>
              <a:gd name="connsiteY18" fmla="*/ 0 h 4464050"/>
              <a:gd name="connsiteX19" fmla="*/ 1670146 w 4457611"/>
              <a:gd name="connsiteY19" fmla="*/ 0 h 4464050"/>
              <a:gd name="connsiteX20" fmla="*/ 1671542 w 4457611"/>
              <a:gd name="connsiteY20" fmla="*/ 0 h 4464050"/>
              <a:gd name="connsiteX21" fmla="*/ 2172952 w 4457611"/>
              <a:gd name="connsiteY21" fmla="*/ 570628 h 4464050"/>
              <a:gd name="connsiteX22" fmla="*/ 2172952 w 4457611"/>
              <a:gd name="connsiteY22" fmla="*/ 3893320 h 4464050"/>
              <a:gd name="connsiteX23" fmla="*/ 1671451 w 4457611"/>
              <a:gd name="connsiteY23" fmla="*/ 4464050 h 4464050"/>
              <a:gd name="connsiteX24" fmla="*/ 1670146 w 4457611"/>
              <a:gd name="connsiteY24" fmla="*/ 4464050 h 4464050"/>
              <a:gd name="connsiteX25" fmla="*/ 1670146 w 4457611"/>
              <a:gd name="connsiteY25" fmla="*/ 0 h 4464050"/>
              <a:gd name="connsiteX26" fmla="*/ 921583 w 4457611"/>
              <a:gd name="connsiteY26" fmla="*/ 0 h 4464050"/>
              <a:gd name="connsiteX27" fmla="*/ 923336 w 4457611"/>
              <a:gd name="connsiteY27" fmla="*/ 0 h 4464050"/>
              <a:gd name="connsiteX28" fmla="*/ 1553109 w 4457611"/>
              <a:gd name="connsiteY28" fmla="*/ 570628 h 4464050"/>
              <a:gd name="connsiteX29" fmla="*/ 1553109 w 4457611"/>
              <a:gd name="connsiteY29" fmla="*/ 3893320 h 4464050"/>
              <a:gd name="connsiteX30" fmla="*/ 923222 w 4457611"/>
              <a:gd name="connsiteY30" fmla="*/ 4464050 h 4464050"/>
              <a:gd name="connsiteX31" fmla="*/ 921583 w 4457611"/>
              <a:gd name="connsiteY31" fmla="*/ 4464050 h 4464050"/>
              <a:gd name="connsiteX32" fmla="*/ 921583 w 4457611"/>
              <a:gd name="connsiteY32" fmla="*/ 0 h 4464050"/>
              <a:gd name="connsiteX33" fmla="*/ 804644 w 4457611"/>
              <a:gd name="connsiteY33" fmla="*/ 3893419 h 4464050"/>
              <a:gd name="connsiteX34" fmla="*/ 0 w 4457611"/>
              <a:gd name="connsiteY34" fmla="*/ 0 h 4464050"/>
              <a:gd name="connsiteX35" fmla="*/ 804644 w 4457611"/>
              <a:gd name="connsiteY35" fmla="*/ 3893419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0 h 4464050"/>
              <a:gd name="connsiteX27" fmla="*/ 1753 w 3536028"/>
              <a:gd name="connsiteY27" fmla="*/ 0 h 4464050"/>
              <a:gd name="connsiteX28" fmla="*/ 631526 w 3536028"/>
              <a:gd name="connsiteY28" fmla="*/ 570628 h 4464050"/>
              <a:gd name="connsiteX29" fmla="*/ 631526 w 3536028"/>
              <a:gd name="connsiteY29" fmla="*/ 3893320 h 4464050"/>
              <a:gd name="connsiteX30" fmla="*/ 1639 w 3536028"/>
              <a:gd name="connsiteY30" fmla="*/ 4464050 h 4464050"/>
              <a:gd name="connsiteX31" fmla="*/ 0 w 3536028"/>
              <a:gd name="connsiteY31" fmla="*/ 4464050 h 4464050"/>
              <a:gd name="connsiteX32" fmla="*/ 0 w 3536028"/>
              <a:gd name="connsiteY32" fmla="*/ 0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4464050 h 4464050"/>
              <a:gd name="connsiteX27" fmla="*/ 1753 w 3536028"/>
              <a:gd name="connsiteY27" fmla="*/ 0 h 4464050"/>
              <a:gd name="connsiteX28" fmla="*/ 631526 w 3536028"/>
              <a:gd name="connsiteY28" fmla="*/ 570628 h 4464050"/>
              <a:gd name="connsiteX29" fmla="*/ 631526 w 3536028"/>
              <a:gd name="connsiteY29" fmla="*/ 3893320 h 4464050"/>
              <a:gd name="connsiteX30" fmla="*/ 1639 w 3536028"/>
              <a:gd name="connsiteY30" fmla="*/ 4464050 h 4464050"/>
              <a:gd name="connsiteX31" fmla="*/ 0 w 3536028"/>
              <a:gd name="connsiteY31" fmla="*/ 4464050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4464050 h 4464050"/>
              <a:gd name="connsiteX27" fmla="*/ 1753 w 3536028"/>
              <a:gd name="connsiteY27" fmla="*/ 0 h 4464050"/>
              <a:gd name="connsiteX28" fmla="*/ 631526 w 3536028"/>
              <a:gd name="connsiteY28" fmla="*/ 3893320 h 4464050"/>
              <a:gd name="connsiteX29" fmla="*/ 1639 w 3536028"/>
              <a:gd name="connsiteY29" fmla="*/ 4464050 h 4464050"/>
              <a:gd name="connsiteX30" fmla="*/ 0 w 3536028"/>
              <a:gd name="connsiteY30" fmla="*/ 4464050 h 4464050"/>
              <a:gd name="connsiteX0" fmla="*/ 3563155 w 3563155"/>
              <a:gd name="connsiteY0" fmla="*/ 3569 h 4464050"/>
              <a:gd name="connsiteX1" fmla="*/ 3563155 w 3563155"/>
              <a:gd name="connsiteY1" fmla="*/ 4460478 h 4464050"/>
              <a:gd name="connsiteX2" fmla="*/ 2763543 w 3563155"/>
              <a:gd name="connsiteY2" fmla="*/ 3893419 h 4464050"/>
              <a:gd name="connsiteX3" fmla="*/ 2763543 w 3563155"/>
              <a:gd name="connsiteY3" fmla="*/ 570628 h 4464050"/>
              <a:gd name="connsiteX4" fmla="*/ 3563155 w 3563155"/>
              <a:gd name="connsiteY4" fmla="*/ 3569 h 4464050"/>
              <a:gd name="connsiteX5" fmla="*/ 2644952 w 3563155"/>
              <a:gd name="connsiteY5" fmla="*/ 0 h 4464050"/>
              <a:gd name="connsiteX6" fmla="*/ 2646704 w 3563155"/>
              <a:gd name="connsiteY6" fmla="*/ 0 h 4464050"/>
              <a:gd name="connsiteX7" fmla="*/ 2646704 w 3563155"/>
              <a:gd name="connsiteY7" fmla="*/ 4464050 h 4464050"/>
              <a:gd name="connsiteX8" fmla="*/ 2644955 w 3563155"/>
              <a:gd name="connsiteY8" fmla="*/ 4464050 h 4464050"/>
              <a:gd name="connsiteX9" fmla="*/ 2015177 w 3563155"/>
              <a:gd name="connsiteY9" fmla="*/ 3893419 h 4464050"/>
              <a:gd name="connsiteX10" fmla="*/ 2015177 w 3563155"/>
              <a:gd name="connsiteY10" fmla="*/ 570628 h 4464050"/>
              <a:gd name="connsiteX11" fmla="*/ 2644952 w 3563155"/>
              <a:gd name="connsiteY11" fmla="*/ 0 h 4464050"/>
              <a:gd name="connsiteX12" fmla="*/ 1896745 w 3563155"/>
              <a:gd name="connsiteY12" fmla="*/ 0 h 4464050"/>
              <a:gd name="connsiteX13" fmla="*/ 1898140 w 3563155"/>
              <a:gd name="connsiteY13" fmla="*/ 0 h 4464050"/>
              <a:gd name="connsiteX14" fmla="*/ 1898140 w 3563155"/>
              <a:gd name="connsiteY14" fmla="*/ 4464050 h 4464050"/>
              <a:gd name="connsiteX15" fmla="*/ 1896748 w 3563155"/>
              <a:gd name="connsiteY15" fmla="*/ 4464050 h 4464050"/>
              <a:gd name="connsiteX16" fmla="*/ 1395335 w 3563155"/>
              <a:gd name="connsiteY16" fmla="*/ 3893419 h 4464050"/>
              <a:gd name="connsiteX17" fmla="*/ 1395335 w 3563155"/>
              <a:gd name="connsiteY17" fmla="*/ 570628 h 4464050"/>
              <a:gd name="connsiteX18" fmla="*/ 1896745 w 3563155"/>
              <a:gd name="connsiteY18" fmla="*/ 0 h 4464050"/>
              <a:gd name="connsiteX19" fmla="*/ 775690 w 3563155"/>
              <a:gd name="connsiteY19" fmla="*/ 0 h 4464050"/>
              <a:gd name="connsiteX20" fmla="*/ 777086 w 3563155"/>
              <a:gd name="connsiteY20" fmla="*/ 0 h 4464050"/>
              <a:gd name="connsiteX21" fmla="*/ 1278496 w 3563155"/>
              <a:gd name="connsiteY21" fmla="*/ 570628 h 4464050"/>
              <a:gd name="connsiteX22" fmla="*/ 1278496 w 3563155"/>
              <a:gd name="connsiteY22" fmla="*/ 3893320 h 4464050"/>
              <a:gd name="connsiteX23" fmla="*/ 776995 w 3563155"/>
              <a:gd name="connsiteY23" fmla="*/ 4464050 h 4464050"/>
              <a:gd name="connsiteX24" fmla="*/ 775690 w 3563155"/>
              <a:gd name="connsiteY24" fmla="*/ 4464050 h 4464050"/>
              <a:gd name="connsiteX25" fmla="*/ 775690 w 3563155"/>
              <a:gd name="connsiteY25" fmla="*/ 0 h 4464050"/>
              <a:gd name="connsiteX26" fmla="*/ 27127 w 3563155"/>
              <a:gd name="connsiteY26" fmla="*/ 4464050 h 4464050"/>
              <a:gd name="connsiteX27" fmla="*/ 8 w 3563155"/>
              <a:gd name="connsiteY27" fmla="*/ 28872 h 4464050"/>
              <a:gd name="connsiteX28" fmla="*/ 658653 w 3563155"/>
              <a:gd name="connsiteY28" fmla="*/ 3893320 h 4464050"/>
              <a:gd name="connsiteX29" fmla="*/ 28766 w 3563155"/>
              <a:gd name="connsiteY29" fmla="*/ 4464050 h 4464050"/>
              <a:gd name="connsiteX30" fmla="*/ 27127 w 3563155"/>
              <a:gd name="connsiteY30" fmla="*/ 4464050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4464050 h 4464050"/>
              <a:gd name="connsiteX27" fmla="*/ 631526 w 3536028"/>
              <a:gd name="connsiteY27" fmla="*/ 3893320 h 4464050"/>
              <a:gd name="connsiteX28" fmla="*/ 1639 w 3536028"/>
              <a:gd name="connsiteY28" fmla="*/ 4464050 h 4464050"/>
              <a:gd name="connsiteX29" fmla="*/ 0 w 3536028"/>
              <a:gd name="connsiteY29" fmla="*/ 4464050 h 4464050"/>
              <a:gd name="connsiteX0" fmla="*/ 3534389 w 3534389"/>
              <a:gd name="connsiteY0" fmla="*/ 3569 h 4464050"/>
              <a:gd name="connsiteX1" fmla="*/ 3534389 w 3534389"/>
              <a:gd name="connsiteY1" fmla="*/ 4460478 h 4464050"/>
              <a:gd name="connsiteX2" fmla="*/ 2734777 w 3534389"/>
              <a:gd name="connsiteY2" fmla="*/ 3893419 h 4464050"/>
              <a:gd name="connsiteX3" fmla="*/ 2734777 w 3534389"/>
              <a:gd name="connsiteY3" fmla="*/ 570628 h 4464050"/>
              <a:gd name="connsiteX4" fmla="*/ 3534389 w 3534389"/>
              <a:gd name="connsiteY4" fmla="*/ 3569 h 4464050"/>
              <a:gd name="connsiteX5" fmla="*/ 2616186 w 3534389"/>
              <a:gd name="connsiteY5" fmla="*/ 0 h 4464050"/>
              <a:gd name="connsiteX6" fmla="*/ 2617938 w 3534389"/>
              <a:gd name="connsiteY6" fmla="*/ 0 h 4464050"/>
              <a:gd name="connsiteX7" fmla="*/ 2617938 w 3534389"/>
              <a:gd name="connsiteY7" fmla="*/ 4464050 h 4464050"/>
              <a:gd name="connsiteX8" fmla="*/ 2616189 w 3534389"/>
              <a:gd name="connsiteY8" fmla="*/ 4464050 h 4464050"/>
              <a:gd name="connsiteX9" fmla="*/ 1986411 w 3534389"/>
              <a:gd name="connsiteY9" fmla="*/ 3893419 h 4464050"/>
              <a:gd name="connsiteX10" fmla="*/ 1986411 w 3534389"/>
              <a:gd name="connsiteY10" fmla="*/ 570628 h 4464050"/>
              <a:gd name="connsiteX11" fmla="*/ 2616186 w 3534389"/>
              <a:gd name="connsiteY11" fmla="*/ 0 h 4464050"/>
              <a:gd name="connsiteX12" fmla="*/ 1867979 w 3534389"/>
              <a:gd name="connsiteY12" fmla="*/ 0 h 4464050"/>
              <a:gd name="connsiteX13" fmla="*/ 1869374 w 3534389"/>
              <a:gd name="connsiteY13" fmla="*/ 0 h 4464050"/>
              <a:gd name="connsiteX14" fmla="*/ 1869374 w 3534389"/>
              <a:gd name="connsiteY14" fmla="*/ 4464050 h 4464050"/>
              <a:gd name="connsiteX15" fmla="*/ 1867982 w 3534389"/>
              <a:gd name="connsiteY15" fmla="*/ 4464050 h 4464050"/>
              <a:gd name="connsiteX16" fmla="*/ 1366569 w 3534389"/>
              <a:gd name="connsiteY16" fmla="*/ 3893419 h 4464050"/>
              <a:gd name="connsiteX17" fmla="*/ 1366569 w 3534389"/>
              <a:gd name="connsiteY17" fmla="*/ 570628 h 4464050"/>
              <a:gd name="connsiteX18" fmla="*/ 1867979 w 3534389"/>
              <a:gd name="connsiteY18" fmla="*/ 0 h 4464050"/>
              <a:gd name="connsiteX19" fmla="*/ 746924 w 3534389"/>
              <a:gd name="connsiteY19" fmla="*/ 0 h 4464050"/>
              <a:gd name="connsiteX20" fmla="*/ 748320 w 3534389"/>
              <a:gd name="connsiteY20" fmla="*/ 0 h 4464050"/>
              <a:gd name="connsiteX21" fmla="*/ 1249730 w 3534389"/>
              <a:gd name="connsiteY21" fmla="*/ 570628 h 4464050"/>
              <a:gd name="connsiteX22" fmla="*/ 1249730 w 3534389"/>
              <a:gd name="connsiteY22" fmla="*/ 3893320 h 4464050"/>
              <a:gd name="connsiteX23" fmla="*/ 748229 w 3534389"/>
              <a:gd name="connsiteY23" fmla="*/ 4464050 h 4464050"/>
              <a:gd name="connsiteX24" fmla="*/ 746924 w 3534389"/>
              <a:gd name="connsiteY24" fmla="*/ 4464050 h 4464050"/>
              <a:gd name="connsiteX25" fmla="*/ 746924 w 3534389"/>
              <a:gd name="connsiteY25" fmla="*/ 0 h 4464050"/>
              <a:gd name="connsiteX26" fmla="*/ 0 w 3534389"/>
              <a:gd name="connsiteY26" fmla="*/ 4464050 h 4464050"/>
              <a:gd name="connsiteX27" fmla="*/ 629887 w 3534389"/>
              <a:gd name="connsiteY27" fmla="*/ 3893320 h 4464050"/>
              <a:gd name="connsiteX28" fmla="*/ 0 w 3534389"/>
              <a:gd name="connsiteY28" fmla="*/ 446405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0 h 4464050"/>
              <a:gd name="connsiteX20" fmla="*/ 1396 w 2787465"/>
              <a:gd name="connsiteY20" fmla="*/ 0 h 4464050"/>
              <a:gd name="connsiteX21" fmla="*/ 502806 w 2787465"/>
              <a:gd name="connsiteY21" fmla="*/ 570628 h 4464050"/>
              <a:gd name="connsiteX22" fmla="*/ 502806 w 2787465"/>
              <a:gd name="connsiteY22" fmla="*/ 3893320 h 4464050"/>
              <a:gd name="connsiteX23" fmla="*/ 1305 w 2787465"/>
              <a:gd name="connsiteY23" fmla="*/ 4464050 h 4464050"/>
              <a:gd name="connsiteX24" fmla="*/ 0 w 2787465"/>
              <a:gd name="connsiteY24" fmla="*/ 4464050 h 4464050"/>
              <a:gd name="connsiteX25" fmla="*/ 0 w 2787465"/>
              <a:gd name="connsiteY25" fmla="*/ 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0 h 4464050"/>
              <a:gd name="connsiteX20" fmla="*/ 1396 w 2787465"/>
              <a:gd name="connsiteY20" fmla="*/ 0 h 4464050"/>
              <a:gd name="connsiteX21" fmla="*/ 502806 w 2787465"/>
              <a:gd name="connsiteY21" fmla="*/ 3893320 h 4464050"/>
              <a:gd name="connsiteX22" fmla="*/ 1305 w 2787465"/>
              <a:gd name="connsiteY22" fmla="*/ 4464050 h 4464050"/>
              <a:gd name="connsiteX23" fmla="*/ 0 w 2787465"/>
              <a:gd name="connsiteY23" fmla="*/ 4464050 h 4464050"/>
              <a:gd name="connsiteX24" fmla="*/ 0 w 2787465"/>
              <a:gd name="connsiteY24" fmla="*/ 0 h 4464050"/>
              <a:gd name="connsiteX0" fmla="*/ 2809119 w 2809119"/>
              <a:gd name="connsiteY0" fmla="*/ 3569 h 4464050"/>
              <a:gd name="connsiteX1" fmla="*/ 2809119 w 2809119"/>
              <a:gd name="connsiteY1" fmla="*/ 4460478 h 4464050"/>
              <a:gd name="connsiteX2" fmla="*/ 2009507 w 2809119"/>
              <a:gd name="connsiteY2" fmla="*/ 3893419 h 4464050"/>
              <a:gd name="connsiteX3" fmla="*/ 2009507 w 2809119"/>
              <a:gd name="connsiteY3" fmla="*/ 570628 h 4464050"/>
              <a:gd name="connsiteX4" fmla="*/ 2809119 w 2809119"/>
              <a:gd name="connsiteY4" fmla="*/ 3569 h 4464050"/>
              <a:gd name="connsiteX5" fmla="*/ 1890916 w 2809119"/>
              <a:gd name="connsiteY5" fmla="*/ 0 h 4464050"/>
              <a:gd name="connsiteX6" fmla="*/ 1892668 w 2809119"/>
              <a:gd name="connsiteY6" fmla="*/ 0 h 4464050"/>
              <a:gd name="connsiteX7" fmla="*/ 1892668 w 2809119"/>
              <a:gd name="connsiteY7" fmla="*/ 4464050 h 4464050"/>
              <a:gd name="connsiteX8" fmla="*/ 1890919 w 2809119"/>
              <a:gd name="connsiteY8" fmla="*/ 4464050 h 4464050"/>
              <a:gd name="connsiteX9" fmla="*/ 1261141 w 2809119"/>
              <a:gd name="connsiteY9" fmla="*/ 3893419 h 4464050"/>
              <a:gd name="connsiteX10" fmla="*/ 1261141 w 2809119"/>
              <a:gd name="connsiteY10" fmla="*/ 570628 h 4464050"/>
              <a:gd name="connsiteX11" fmla="*/ 1890916 w 2809119"/>
              <a:gd name="connsiteY11" fmla="*/ 0 h 4464050"/>
              <a:gd name="connsiteX12" fmla="*/ 1142709 w 2809119"/>
              <a:gd name="connsiteY12" fmla="*/ 0 h 4464050"/>
              <a:gd name="connsiteX13" fmla="*/ 1144104 w 2809119"/>
              <a:gd name="connsiteY13" fmla="*/ 0 h 4464050"/>
              <a:gd name="connsiteX14" fmla="*/ 1144104 w 2809119"/>
              <a:gd name="connsiteY14" fmla="*/ 4464050 h 4464050"/>
              <a:gd name="connsiteX15" fmla="*/ 1142712 w 2809119"/>
              <a:gd name="connsiteY15" fmla="*/ 4464050 h 4464050"/>
              <a:gd name="connsiteX16" fmla="*/ 641299 w 2809119"/>
              <a:gd name="connsiteY16" fmla="*/ 3893419 h 4464050"/>
              <a:gd name="connsiteX17" fmla="*/ 641299 w 2809119"/>
              <a:gd name="connsiteY17" fmla="*/ 570628 h 4464050"/>
              <a:gd name="connsiteX18" fmla="*/ 1142709 w 2809119"/>
              <a:gd name="connsiteY18" fmla="*/ 0 h 4464050"/>
              <a:gd name="connsiteX19" fmla="*/ 0 w 2809119"/>
              <a:gd name="connsiteY19" fmla="*/ 7219 h 4464050"/>
              <a:gd name="connsiteX20" fmla="*/ 23050 w 2809119"/>
              <a:gd name="connsiteY20" fmla="*/ 0 h 4464050"/>
              <a:gd name="connsiteX21" fmla="*/ 524460 w 2809119"/>
              <a:gd name="connsiteY21" fmla="*/ 3893320 h 4464050"/>
              <a:gd name="connsiteX22" fmla="*/ 22959 w 2809119"/>
              <a:gd name="connsiteY22" fmla="*/ 4464050 h 4464050"/>
              <a:gd name="connsiteX23" fmla="*/ 21654 w 2809119"/>
              <a:gd name="connsiteY23" fmla="*/ 4464050 h 4464050"/>
              <a:gd name="connsiteX24" fmla="*/ 0 w 2809119"/>
              <a:gd name="connsiteY24" fmla="*/ 7219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4464050 h 4464050"/>
              <a:gd name="connsiteX20" fmla="*/ 1396 w 2787465"/>
              <a:gd name="connsiteY20" fmla="*/ 0 h 4464050"/>
              <a:gd name="connsiteX21" fmla="*/ 502806 w 2787465"/>
              <a:gd name="connsiteY21" fmla="*/ 3893320 h 4464050"/>
              <a:gd name="connsiteX22" fmla="*/ 1305 w 2787465"/>
              <a:gd name="connsiteY22" fmla="*/ 4464050 h 4464050"/>
              <a:gd name="connsiteX23" fmla="*/ 0 w 2787465"/>
              <a:gd name="connsiteY23" fmla="*/ 446405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4464050 h 4464050"/>
              <a:gd name="connsiteX20" fmla="*/ 1396 w 2787465"/>
              <a:gd name="connsiteY20" fmla="*/ 0 h 4464050"/>
              <a:gd name="connsiteX21" fmla="*/ 1305 w 2787465"/>
              <a:gd name="connsiteY21" fmla="*/ 4464050 h 4464050"/>
              <a:gd name="connsiteX22" fmla="*/ 0 w 2787465"/>
              <a:gd name="connsiteY22" fmla="*/ 446405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4464050 h 4464050"/>
              <a:gd name="connsiteX20" fmla="*/ 1305 w 2787465"/>
              <a:gd name="connsiteY20" fmla="*/ 4464050 h 4464050"/>
              <a:gd name="connsiteX21" fmla="*/ 0 w 2787465"/>
              <a:gd name="connsiteY21" fmla="*/ 4464050 h 4464050"/>
              <a:gd name="connsiteX0" fmla="*/ 2167820 w 2167820"/>
              <a:gd name="connsiteY0" fmla="*/ 3569 h 4464050"/>
              <a:gd name="connsiteX1" fmla="*/ 2167820 w 2167820"/>
              <a:gd name="connsiteY1" fmla="*/ 4460478 h 4464050"/>
              <a:gd name="connsiteX2" fmla="*/ 1368208 w 2167820"/>
              <a:gd name="connsiteY2" fmla="*/ 3893419 h 4464050"/>
              <a:gd name="connsiteX3" fmla="*/ 1368208 w 2167820"/>
              <a:gd name="connsiteY3" fmla="*/ 570628 h 4464050"/>
              <a:gd name="connsiteX4" fmla="*/ 2167820 w 2167820"/>
              <a:gd name="connsiteY4" fmla="*/ 3569 h 4464050"/>
              <a:gd name="connsiteX5" fmla="*/ 1249617 w 2167820"/>
              <a:gd name="connsiteY5" fmla="*/ 0 h 4464050"/>
              <a:gd name="connsiteX6" fmla="*/ 1251369 w 2167820"/>
              <a:gd name="connsiteY6" fmla="*/ 0 h 4464050"/>
              <a:gd name="connsiteX7" fmla="*/ 1251369 w 2167820"/>
              <a:gd name="connsiteY7" fmla="*/ 4464050 h 4464050"/>
              <a:gd name="connsiteX8" fmla="*/ 1249620 w 2167820"/>
              <a:gd name="connsiteY8" fmla="*/ 4464050 h 4464050"/>
              <a:gd name="connsiteX9" fmla="*/ 619842 w 2167820"/>
              <a:gd name="connsiteY9" fmla="*/ 3893419 h 4464050"/>
              <a:gd name="connsiteX10" fmla="*/ 619842 w 2167820"/>
              <a:gd name="connsiteY10" fmla="*/ 570628 h 4464050"/>
              <a:gd name="connsiteX11" fmla="*/ 1249617 w 2167820"/>
              <a:gd name="connsiteY11" fmla="*/ 0 h 4464050"/>
              <a:gd name="connsiteX12" fmla="*/ 501410 w 2167820"/>
              <a:gd name="connsiteY12" fmla="*/ 0 h 4464050"/>
              <a:gd name="connsiteX13" fmla="*/ 502805 w 2167820"/>
              <a:gd name="connsiteY13" fmla="*/ 0 h 4464050"/>
              <a:gd name="connsiteX14" fmla="*/ 502805 w 2167820"/>
              <a:gd name="connsiteY14" fmla="*/ 4464050 h 4464050"/>
              <a:gd name="connsiteX15" fmla="*/ 501413 w 2167820"/>
              <a:gd name="connsiteY15" fmla="*/ 4464050 h 4464050"/>
              <a:gd name="connsiteX16" fmla="*/ 0 w 2167820"/>
              <a:gd name="connsiteY16" fmla="*/ 3893419 h 4464050"/>
              <a:gd name="connsiteX17" fmla="*/ 0 w 2167820"/>
              <a:gd name="connsiteY17" fmla="*/ 570628 h 4464050"/>
              <a:gd name="connsiteX18" fmla="*/ 501410 w 2167820"/>
              <a:gd name="connsiteY18" fmla="*/ 0 h 446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167820" h="4464050">
                <a:moveTo>
                  <a:pt x="2167820" y="3569"/>
                </a:moveTo>
                <a:lnTo>
                  <a:pt x="2167820" y="4460478"/>
                </a:lnTo>
                <a:lnTo>
                  <a:pt x="1368208" y="3893419"/>
                </a:lnTo>
                <a:lnTo>
                  <a:pt x="1368208" y="570628"/>
                </a:lnTo>
                <a:lnTo>
                  <a:pt x="2167820" y="3569"/>
                </a:lnTo>
                <a:close/>
                <a:moveTo>
                  <a:pt x="1249617" y="0"/>
                </a:moveTo>
                <a:lnTo>
                  <a:pt x="1251369" y="0"/>
                </a:lnTo>
                <a:lnTo>
                  <a:pt x="1251369" y="4464050"/>
                </a:lnTo>
                <a:lnTo>
                  <a:pt x="1249620" y="4464050"/>
                </a:lnTo>
                <a:lnTo>
                  <a:pt x="619842" y="3893419"/>
                </a:lnTo>
                <a:lnTo>
                  <a:pt x="619842" y="570628"/>
                </a:lnTo>
                <a:lnTo>
                  <a:pt x="1249617" y="0"/>
                </a:lnTo>
                <a:close/>
                <a:moveTo>
                  <a:pt x="501410" y="0"/>
                </a:moveTo>
                <a:lnTo>
                  <a:pt x="502805" y="0"/>
                </a:lnTo>
                <a:lnTo>
                  <a:pt x="502805" y="4464050"/>
                </a:lnTo>
                <a:lnTo>
                  <a:pt x="501413" y="4464050"/>
                </a:lnTo>
                <a:lnTo>
                  <a:pt x="0" y="3893419"/>
                </a:lnTo>
                <a:lnTo>
                  <a:pt x="0" y="570628"/>
                </a:lnTo>
                <a:lnTo>
                  <a:pt x="50141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insert picture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60417610-3925-C985-77B4-41C4C49D7FD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81765" y="428625"/>
            <a:ext cx="1912188" cy="3924299"/>
          </a:xfrm>
          <a:custGeom>
            <a:avLst/>
            <a:gdLst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3541647 w 4459850"/>
              <a:gd name="connsiteY4" fmla="*/ 0 h 4464050"/>
              <a:gd name="connsiteX5" fmla="*/ 3543399 w 4459850"/>
              <a:gd name="connsiteY5" fmla="*/ 0 h 4464050"/>
              <a:gd name="connsiteX6" fmla="*/ 3543399 w 4459850"/>
              <a:gd name="connsiteY6" fmla="*/ 4464050 h 4464050"/>
              <a:gd name="connsiteX7" fmla="*/ 3541650 w 4459850"/>
              <a:gd name="connsiteY7" fmla="*/ 4464050 h 4464050"/>
              <a:gd name="connsiteX8" fmla="*/ 2911872 w 4459850"/>
              <a:gd name="connsiteY8" fmla="*/ 3893419 h 4464050"/>
              <a:gd name="connsiteX9" fmla="*/ 2911872 w 4459850"/>
              <a:gd name="connsiteY9" fmla="*/ 570628 h 4464050"/>
              <a:gd name="connsiteX10" fmla="*/ 2793440 w 4459850"/>
              <a:gd name="connsiteY10" fmla="*/ 0 h 4464050"/>
              <a:gd name="connsiteX11" fmla="*/ 2794835 w 4459850"/>
              <a:gd name="connsiteY11" fmla="*/ 0 h 4464050"/>
              <a:gd name="connsiteX12" fmla="*/ 2794835 w 4459850"/>
              <a:gd name="connsiteY12" fmla="*/ 4464050 h 4464050"/>
              <a:gd name="connsiteX13" fmla="*/ 2793443 w 4459850"/>
              <a:gd name="connsiteY13" fmla="*/ 4464050 h 4464050"/>
              <a:gd name="connsiteX14" fmla="*/ 2292030 w 4459850"/>
              <a:gd name="connsiteY14" fmla="*/ 3893419 h 4464050"/>
              <a:gd name="connsiteX15" fmla="*/ 2292030 w 4459850"/>
              <a:gd name="connsiteY15" fmla="*/ 570628 h 4464050"/>
              <a:gd name="connsiteX16" fmla="*/ 1672385 w 4459850"/>
              <a:gd name="connsiteY16" fmla="*/ 0 h 4464050"/>
              <a:gd name="connsiteX17" fmla="*/ 1673781 w 4459850"/>
              <a:gd name="connsiteY17" fmla="*/ 0 h 4464050"/>
              <a:gd name="connsiteX18" fmla="*/ 2175191 w 4459850"/>
              <a:gd name="connsiteY18" fmla="*/ 570628 h 4464050"/>
              <a:gd name="connsiteX19" fmla="*/ 2175191 w 4459850"/>
              <a:gd name="connsiteY19" fmla="*/ 3893320 h 4464050"/>
              <a:gd name="connsiteX20" fmla="*/ 1673690 w 4459850"/>
              <a:gd name="connsiteY20" fmla="*/ 4464050 h 4464050"/>
              <a:gd name="connsiteX21" fmla="*/ 1672385 w 4459850"/>
              <a:gd name="connsiteY21" fmla="*/ 4464050 h 4464050"/>
              <a:gd name="connsiteX22" fmla="*/ 923822 w 4459850"/>
              <a:gd name="connsiteY22" fmla="*/ 0 h 4464050"/>
              <a:gd name="connsiteX23" fmla="*/ 925575 w 4459850"/>
              <a:gd name="connsiteY23" fmla="*/ 0 h 4464050"/>
              <a:gd name="connsiteX24" fmla="*/ 1555348 w 4459850"/>
              <a:gd name="connsiteY24" fmla="*/ 570628 h 4464050"/>
              <a:gd name="connsiteX25" fmla="*/ 1555348 w 4459850"/>
              <a:gd name="connsiteY25" fmla="*/ 3893320 h 4464050"/>
              <a:gd name="connsiteX26" fmla="*/ 925461 w 4459850"/>
              <a:gd name="connsiteY26" fmla="*/ 4464050 h 4464050"/>
              <a:gd name="connsiteX27" fmla="*/ 923822 w 4459850"/>
              <a:gd name="connsiteY27" fmla="*/ 4464050 h 4464050"/>
              <a:gd name="connsiteX28" fmla="*/ 0 w 4459850"/>
              <a:gd name="connsiteY28" fmla="*/ 0 h 4464050"/>
              <a:gd name="connsiteX29" fmla="*/ 2239 w 4459850"/>
              <a:gd name="connsiteY29" fmla="*/ 0 h 4464050"/>
              <a:gd name="connsiteX30" fmla="*/ 806883 w 4459850"/>
              <a:gd name="connsiteY30" fmla="*/ 570628 h 4464050"/>
              <a:gd name="connsiteX31" fmla="*/ 806883 w 4459850"/>
              <a:gd name="connsiteY31" fmla="*/ 3893419 h 4464050"/>
              <a:gd name="connsiteX32" fmla="*/ 2234 w 4459850"/>
              <a:gd name="connsiteY32" fmla="*/ 4464050 h 4464050"/>
              <a:gd name="connsiteX33" fmla="*/ 0 w 4459850"/>
              <a:gd name="connsiteY33" fmla="*/ 446405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292030 w 4459850"/>
              <a:gd name="connsiteY12" fmla="*/ 570628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2292030 w 4459850"/>
              <a:gd name="connsiteY17" fmla="*/ 570628 h 4464050"/>
              <a:gd name="connsiteX18" fmla="*/ 1672385 w 4459850"/>
              <a:gd name="connsiteY18" fmla="*/ 0 h 4464050"/>
              <a:gd name="connsiteX19" fmla="*/ 1673781 w 4459850"/>
              <a:gd name="connsiteY19" fmla="*/ 0 h 4464050"/>
              <a:gd name="connsiteX20" fmla="*/ 2175191 w 4459850"/>
              <a:gd name="connsiteY20" fmla="*/ 570628 h 4464050"/>
              <a:gd name="connsiteX21" fmla="*/ 2175191 w 4459850"/>
              <a:gd name="connsiteY21" fmla="*/ 3893320 h 4464050"/>
              <a:gd name="connsiteX22" fmla="*/ 1673690 w 4459850"/>
              <a:gd name="connsiteY22" fmla="*/ 4464050 h 4464050"/>
              <a:gd name="connsiteX23" fmla="*/ 1672385 w 4459850"/>
              <a:gd name="connsiteY23" fmla="*/ 4464050 h 4464050"/>
              <a:gd name="connsiteX24" fmla="*/ 1672385 w 4459850"/>
              <a:gd name="connsiteY24" fmla="*/ 0 h 4464050"/>
              <a:gd name="connsiteX25" fmla="*/ 923822 w 4459850"/>
              <a:gd name="connsiteY25" fmla="*/ 0 h 4464050"/>
              <a:gd name="connsiteX26" fmla="*/ 925575 w 4459850"/>
              <a:gd name="connsiteY26" fmla="*/ 0 h 4464050"/>
              <a:gd name="connsiteX27" fmla="*/ 1555348 w 4459850"/>
              <a:gd name="connsiteY27" fmla="*/ 570628 h 4464050"/>
              <a:gd name="connsiteX28" fmla="*/ 1555348 w 4459850"/>
              <a:gd name="connsiteY28" fmla="*/ 3893320 h 4464050"/>
              <a:gd name="connsiteX29" fmla="*/ 925461 w 4459850"/>
              <a:gd name="connsiteY29" fmla="*/ 4464050 h 4464050"/>
              <a:gd name="connsiteX30" fmla="*/ 923822 w 4459850"/>
              <a:gd name="connsiteY30" fmla="*/ 4464050 h 4464050"/>
              <a:gd name="connsiteX31" fmla="*/ 923822 w 4459850"/>
              <a:gd name="connsiteY31" fmla="*/ 0 h 4464050"/>
              <a:gd name="connsiteX32" fmla="*/ 0 w 4459850"/>
              <a:gd name="connsiteY32" fmla="*/ 0 h 4464050"/>
              <a:gd name="connsiteX33" fmla="*/ 2239 w 4459850"/>
              <a:gd name="connsiteY33" fmla="*/ 0 h 4464050"/>
              <a:gd name="connsiteX34" fmla="*/ 806883 w 4459850"/>
              <a:gd name="connsiteY34" fmla="*/ 570628 h 4464050"/>
              <a:gd name="connsiteX35" fmla="*/ 806883 w 4459850"/>
              <a:gd name="connsiteY35" fmla="*/ 3893419 h 4464050"/>
              <a:gd name="connsiteX36" fmla="*/ 2234 w 4459850"/>
              <a:gd name="connsiteY36" fmla="*/ 4464050 h 4464050"/>
              <a:gd name="connsiteX37" fmla="*/ 0 w 4459850"/>
              <a:gd name="connsiteY37" fmla="*/ 4464050 h 4464050"/>
              <a:gd name="connsiteX38" fmla="*/ 0 w 4459850"/>
              <a:gd name="connsiteY38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292030 w 4459850"/>
              <a:gd name="connsiteY12" fmla="*/ 3893419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1672385 w 4459850"/>
              <a:gd name="connsiteY17" fmla="*/ 0 h 4464050"/>
              <a:gd name="connsiteX18" fmla="*/ 1673781 w 4459850"/>
              <a:gd name="connsiteY18" fmla="*/ 0 h 4464050"/>
              <a:gd name="connsiteX19" fmla="*/ 2175191 w 4459850"/>
              <a:gd name="connsiteY19" fmla="*/ 570628 h 4464050"/>
              <a:gd name="connsiteX20" fmla="*/ 2175191 w 4459850"/>
              <a:gd name="connsiteY20" fmla="*/ 3893320 h 4464050"/>
              <a:gd name="connsiteX21" fmla="*/ 1673690 w 4459850"/>
              <a:gd name="connsiteY21" fmla="*/ 4464050 h 4464050"/>
              <a:gd name="connsiteX22" fmla="*/ 1672385 w 4459850"/>
              <a:gd name="connsiteY22" fmla="*/ 4464050 h 4464050"/>
              <a:gd name="connsiteX23" fmla="*/ 1672385 w 4459850"/>
              <a:gd name="connsiteY23" fmla="*/ 0 h 4464050"/>
              <a:gd name="connsiteX24" fmla="*/ 923822 w 4459850"/>
              <a:gd name="connsiteY24" fmla="*/ 0 h 4464050"/>
              <a:gd name="connsiteX25" fmla="*/ 925575 w 4459850"/>
              <a:gd name="connsiteY25" fmla="*/ 0 h 4464050"/>
              <a:gd name="connsiteX26" fmla="*/ 1555348 w 4459850"/>
              <a:gd name="connsiteY26" fmla="*/ 570628 h 4464050"/>
              <a:gd name="connsiteX27" fmla="*/ 1555348 w 4459850"/>
              <a:gd name="connsiteY27" fmla="*/ 3893320 h 4464050"/>
              <a:gd name="connsiteX28" fmla="*/ 925461 w 4459850"/>
              <a:gd name="connsiteY28" fmla="*/ 4464050 h 4464050"/>
              <a:gd name="connsiteX29" fmla="*/ 923822 w 4459850"/>
              <a:gd name="connsiteY29" fmla="*/ 4464050 h 4464050"/>
              <a:gd name="connsiteX30" fmla="*/ 923822 w 4459850"/>
              <a:gd name="connsiteY30" fmla="*/ 0 h 4464050"/>
              <a:gd name="connsiteX31" fmla="*/ 0 w 4459850"/>
              <a:gd name="connsiteY31" fmla="*/ 0 h 4464050"/>
              <a:gd name="connsiteX32" fmla="*/ 2239 w 4459850"/>
              <a:gd name="connsiteY32" fmla="*/ 0 h 4464050"/>
              <a:gd name="connsiteX33" fmla="*/ 806883 w 4459850"/>
              <a:gd name="connsiteY33" fmla="*/ 570628 h 4464050"/>
              <a:gd name="connsiteX34" fmla="*/ 806883 w 4459850"/>
              <a:gd name="connsiteY34" fmla="*/ 3893419 h 4464050"/>
              <a:gd name="connsiteX35" fmla="*/ 2234 w 4459850"/>
              <a:gd name="connsiteY35" fmla="*/ 4464050 h 4464050"/>
              <a:gd name="connsiteX36" fmla="*/ 0 w 4459850"/>
              <a:gd name="connsiteY36" fmla="*/ 4464050 h 4464050"/>
              <a:gd name="connsiteX37" fmla="*/ 0 w 4459850"/>
              <a:gd name="connsiteY37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292030 w 4459850"/>
              <a:gd name="connsiteY12" fmla="*/ 3893419 h 4464050"/>
              <a:gd name="connsiteX13" fmla="*/ 2794835 w 4459850"/>
              <a:gd name="connsiteY13" fmla="*/ 4464050 h 4464050"/>
              <a:gd name="connsiteX14" fmla="*/ 2793443 w 4459850"/>
              <a:gd name="connsiteY14" fmla="*/ 4464050 h 4464050"/>
              <a:gd name="connsiteX15" fmla="*/ 2292030 w 4459850"/>
              <a:gd name="connsiteY15" fmla="*/ 3893419 h 4464050"/>
              <a:gd name="connsiteX16" fmla="*/ 1672385 w 4459850"/>
              <a:gd name="connsiteY16" fmla="*/ 0 h 4464050"/>
              <a:gd name="connsiteX17" fmla="*/ 1673781 w 4459850"/>
              <a:gd name="connsiteY17" fmla="*/ 0 h 4464050"/>
              <a:gd name="connsiteX18" fmla="*/ 2175191 w 4459850"/>
              <a:gd name="connsiteY18" fmla="*/ 570628 h 4464050"/>
              <a:gd name="connsiteX19" fmla="*/ 2175191 w 4459850"/>
              <a:gd name="connsiteY19" fmla="*/ 3893320 h 4464050"/>
              <a:gd name="connsiteX20" fmla="*/ 1673690 w 4459850"/>
              <a:gd name="connsiteY20" fmla="*/ 4464050 h 4464050"/>
              <a:gd name="connsiteX21" fmla="*/ 1672385 w 4459850"/>
              <a:gd name="connsiteY21" fmla="*/ 4464050 h 4464050"/>
              <a:gd name="connsiteX22" fmla="*/ 1672385 w 4459850"/>
              <a:gd name="connsiteY22" fmla="*/ 0 h 4464050"/>
              <a:gd name="connsiteX23" fmla="*/ 923822 w 4459850"/>
              <a:gd name="connsiteY23" fmla="*/ 0 h 4464050"/>
              <a:gd name="connsiteX24" fmla="*/ 925575 w 4459850"/>
              <a:gd name="connsiteY24" fmla="*/ 0 h 4464050"/>
              <a:gd name="connsiteX25" fmla="*/ 1555348 w 4459850"/>
              <a:gd name="connsiteY25" fmla="*/ 570628 h 4464050"/>
              <a:gd name="connsiteX26" fmla="*/ 1555348 w 4459850"/>
              <a:gd name="connsiteY26" fmla="*/ 3893320 h 4464050"/>
              <a:gd name="connsiteX27" fmla="*/ 925461 w 4459850"/>
              <a:gd name="connsiteY27" fmla="*/ 4464050 h 4464050"/>
              <a:gd name="connsiteX28" fmla="*/ 923822 w 4459850"/>
              <a:gd name="connsiteY28" fmla="*/ 4464050 h 4464050"/>
              <a:gd name="connsiteX29" fmla="*/ 923822 w 4459850"/>
              <a:gd name="connsiteY29" fmla="*/ 0 h 4464050"/>
              <a:gd name="connsiteX30" fmla="*/ 0 w 4459850"/>
              <a:gd name="connsiteY30" fmla="*/ 0 h 4464050"/>
              <a:gd name="connsiteX31" fmla="*/ 2239 w 4459850"/>
              <a:gd name="connsiteY31" fmla="*/ 0 h 4464050"/>
              <a:gd name="connsiteX32" fmla="*/ 806883 w 4459850"/>
              <a:gd name="connsiteY32" fmla="*/ 570628 h 4464050"/>
              <a:gd name="connsiteX33" fmla="*/ 806883 w 4459850"/>
              <a:gd name="connsiteY33" fmla="*/ 3893419 h 4464050"/>
              <a:gd name="connsiteX34" fmla="*/ 2234 w 4459850"/>
              <a:gd name="connsiteY34" fmla="*/ 4464050 h 4464050"/>
              <a:gd name="connsiteX35" fmla="*/ 0 w 4459850"/>
              <a:gd name="connsiteY35" fmla="*/ 4464050 h 4464050"/>
              <a:gd name="connsiteX36" fmla="*/ 0 w 4459850"/>
              <a:gd name="connsiteY36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793443 w 4459850"/>
              <a:gd name="connsiteY12" fmla="*/ 4464050 h 4464050"/>
              <a:gd name="connsiteX13" fmla="*/ 2794835 w 4459850"/>
              <a:gd name="connsiteY13" fmla="*/ 4464050 h 4464050"/>
              <a:gd name="connsiteX14" fmla="*/ 2793443 w 4459850"/>
              <a:gd name="connsiteY14" fmla="*/ 4464050 h 4464050"/>
              <a:gd name="connsiteX15" fmla="*/ 1672385 w 4459850"/>
              <a:gd name="connsiteY15" fmla="*/ 0 h 4464050"/>
              <a:gd name="connsiteX16" fmla="*/ 1673781 w 4459850"/>
              <a:gd name="connsiteY16" fmla="*/ 0 h 4464050"/>
              <a:gd name="connsiteX17" fmla="*/ 2175191 w 4459850"/>
              <a:gd name="connsiteY17" fmla="*/ 570628 h 4464050"/>
              <a:gd name="connsiteX18" fmla="*/ 2175191 w 4459850"/>
              <a:gd name="connsiteY18" fmla="*/ 3893320 h 4464050"/>
              <a:gd name="connsiteX19" fmla="*/ 1673690 w 4459850"/>
              <a:gd name="connsiteY19" fmla="*/ 4464050 h 4464050"/>
              <a:gd name="connsiteX20" fmla="*/ 1672385 w 4459850"/>
              <a:gd name="connsiteY20" fmla="*/ 4464050 h 4464050"/>
              <a:gd name="connsiteX21" fmla="*/ 1672385 w 4459850"/>
              <a:gd name="connsiteY21" fmla="*/ 0 h 4464050"/>
              <a:gd name="connsiteX22" fmla="*/ 923822 w 4459850"/>
              <a:gd name="connsiteY22" fmla="*/ 0 h 4464050"/>
              <a:gd name="connsiteX23" fmla="*/ 925575 w 4459850"/>
              <a:gd name="connsiteY23" fmla="*/ 0 h 4464050"/>
              <a:gd name="connsiteX24" fmla="*/ 1555348 w 4459850"/>
              <a:gd name="connsiteY24" fmla="*/ 570628 h 4464050"/>
              <a:gd name="connsiteX25" fmla="*/ 1555348 w 4459850"/>
              <a:gd name="connsiteY25" fmla="*/ 3893320 h 4464050"/>
              <a:gd name="connsiteX26" fmla="*/ 925461 w 4459850"/>
              <a:gd name="connsiteY26" fmla="*/ 4464050 h 4464050"/>
              <a:gd name="connsiteX27" fmla="*/ 923822 w 4459850"/>
              <a:gd name="connsiteY27" fmla="*/ 4464050 h 4464050"/>
              <a:gd name="connsiteX28" fmla="*/ 923822 w 4459850"/>
              <a:gd name="connsiteY28" fmla="*/ 0 h 4464050"/>
              <a:gd name="connsiteX29" fmla="*/ 0 w 4459850"/>
              <a:gd name="connsiteY29" fmla="*/ 0 h 4464050"/>
              <a:gd name="connsiteX30" fmla="*/ 2239 w 4459850"/>
              <a:gd name="connsiteY30" fmla="*/ 0 h 4464050"/>
              <a:gd name="connsiteX31" fmla="*/ 806883 w 4459850"/>
              <a:gd name="connsiteY31" fmla="*/ 570628 h 4464050"/>
              <a:gd name="connsiteX32" fmla="*/ 806883 w 4459850"/>
              <a:gd name="connsiteY32" fmla="*/ 3893419 h 4464050"/>
              <a:gd name="connsiteX33" fmla="*/ 2234 w 4459850"/>
              <a:gd name="connsiteY33" fmla="*/ 4464050 h 4464050"/>
              <a:gd name="connsiteX34" fmla="*/ 0 w 4459850"/>
              <a:gd name="connsiteY34" fmla="*/ 4464050 h 4464050"/>
              <a:gd name="connsiteX35" fmla="*/ 0 w 4459850"/>
              <a:gd name="connsiteY35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1672385 w 4459850"/>
              <a:gd name="connsiteY12" fmla="*/ 0 h 4464050"/>
              <a:gd name="connsiteX13" fmla="*/ 1673781 w 4459850"/>
              <a:gd name="connsiteY13" fmla="*/ 0 h 4464050"/>
              <a:gd name="connsiteX14" fmla="*/ 2175191 w 4459850"/>
              <a:gd name="connsiteY14" fmla="*/ 570628 h 4464050"/>
              <a:gd name="connsiteX15" fmla="*/ 2175191 w 4459850"/>
              <a:gd name="connsiteY15" fmla="*/ 3893320 h 4464050"/>
              <a:gd name="connsiteX16" fmla="*/ 1673690 w 4459850"/>
              <a:gd name="connsiteY16" fmla="*/ 4464050 h 4464050"/>
              <a:gd name="connsiteX17" fmla="*/ 1672385 w 4459850"/>
              <a:gd name="connsiteY17" fmla="*/ 4464050 h 4464050"/>
              <a:gd name="connsiteX18" fmla="*/ 1672385 w 4459850"/>
              <a:gd name="connsiteY18" fmla="*/ 0 h 4464050"/>
              <a:gd name="connsiteX19" fmla="*/ 923822 w 4459850"/>
              <a:gd name="connsiteY19" fmla="*/ 0 h 4464050"/>
              <a:gd name="connsiteX20" fmla="*/ 925575 w 4459850"/>
              <a:gd name="connsiteY20" fmla="*/ 0 h 4464050"/>
              <a:gd name="connsiteX21" fmla="*/ 1555348 w 4459850"/>
              <a:gd name="connsiteY21" fmla="*/ 570628 h 4464050"/>
              <a:gd name="connsiteX22" fmla="*/ 1555348 w 4459850"/>
              <a:gd name="connsiteY22" fmla="*/ 3893320 h 4464050"/>
              <a:gd name="connsiteX23" fmla="*/ 925461 w 4459850"/>
              <a:gd name="connsiteY23" fmla="*/ 4464050 h 4464050"/>
              <a:gd name="connsiteX24" fmla="*/ 923822 w 4459850"/>
              <a:gd name="connsiteY24" fmla="*/ 4464050 h 4464050"/>
              <a:gd name="connsiteX25" fmla="*/ 923822 w 4459850"/>
              <a:gd name="connsiteY25" fmla="*/ 0 h 4464050"/>
              <a:gd name="connsiteX26" fmla="*/ 0 w 4459850"/>
              <a:gd name="connsiteY26" fmla="*/ 0 h 4464050"/>
              <a:gd name="connsiteX27" fmla="*/ 2239 w 4459850"/>
              <a:gd name="connsiteY27" fmla="*/ 0 h 4464050"/>
              <a:gd name="connsiteX28" fmla="*/ 806883 w 4459850"/>
              <a:gd name="connsiteY28" fmla="*/ 570628 h 4464050"/>
              <a:gd name="connsiteX29" fmla="*/ 806883 w 4459850"/>
              <a:gd name="connsiteY29" fmla="*/ 3893419 h 4464050"/>
              <a:gd name="connsiteX30" fmla="*/ 2234 w 4459850"/>
              <a:gd name="connsiteY30" fmla="*/ 4464050 h 4464050"/>
              <a:gd name="connsiteX31" fmla="*/ 0 w 4459850"/>
              <a:gd name="connsiteY31" fmla="*/ 4464050 h 4464050"/>
              <a:gd name="connsiteX32" fmla="*/ 0 w 4459850"/>
              <a:gd name="connsiteY32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3893419 h 4464050"/>
              <a:gd name="connsiteX9" fmla="*/ 2911872 w 4459850"/>
              <a:gd name="connsiteY9" fmla="*/ 570628 h 4464050"/>
              <a:gd name="connsiteX10" fmla="*/ 3541647 w 4459850"/>
              <a:gd name="connsiteY10" fmla="*/ 0 h 4464050"/>
              <a:gd name="connsiteX11" fmla="*/ 1672385 w 4459850"/>
              <a:gd name="connsiteY11" fmla="*/ 0 h 4464050"/>
              <a:gd name="connsiteX12" fmla="*/ 1673781 w 4459850"/>
              <a:gd name="connsiteY12" fmla="*/ 0 h 4464050"/>
              <a:gd name="connsiteX13" fmla="*/ 2175191 w 4459850"/>
              <a:gd name="connsiteY13" fmla="*/ 570628 h 4464050"/>
              <a:gd name="connsiteX14" fmla="*/ 2175191 w 4459850"/>
              <a:gd name="connsiteY14" fmla="*/ 3893320 h 4464050"/>
              <a:gd name="connsiteX15" fmla="*/ 1673690 w 4459850"/>
              <a:gd name="connsiteY15" fmla="*/ 4464050 h 4464050"/>
              <a:gd name="connsiteX16" fmla="*/ 1672385 w 4459850"/>
              <a:gd name="connsiteY16" fmla="*/ 4464050 h 4464050"/>
              <a:gd name="connsiteX17" fmla="*/ 1672385 w 4459850"/>
              <a:gd name="connsiteY17" fmla="*/ 0 h 4464050"/>
              <a:gd name="connsiteX18" fmla="*/ 923822 w 4459850"/>
              <a:gd name="connsiteY18" fmla="*/ 0 h 4464050"/>
              <a:gd name="connsiteX19" fmla="*/ 925575 w 4459850"/>
              <a:gd name="connsiteY19" fmla="*/ 0 h 4464050"/>
              <a:gd name="connsiteX20" fmla="*/ 1555348 w 4459850"/>
              <a:gd name="connsiteY20" fmla="*/ 570628 h 4464050"/>
              <a:gd name="connsiteX21" fmla="*/ 1555348 w 4459850"/>
              <a:gd name="connsiteY21" fmla="*/ 3893320 h 4464050"/>
              <a:gd name="connsiteX22" fmla="*/ 925461 w 4459850"/>
              <a:gd name="connsiteY22" fmla="*/ 4464050 h 4464050"/>
              <a:gd name="connsiteX23" fmla="*/ 923822 w 4459850"/>
              <a:gd name="connsiteY23" fmla="*/ 4464050 h 4464050"/>
              <a:gd name="connsiteX24" fmla="*/ 923822 w 4459850"/>
              <a:gd name="connsiteY24" fmla="*/ 0 h 4464050"/>
              <a:gd name="connsiteX25" fmla="*/ 0 w 4459850"/>
              <a:gd name="connsiteY25" fmla="*/ 0 h 4464050"/>
              <a:gd name="connsiteX26" fmla="*/ 2239 w 4459850"/>
              <a:gd name="connsiteY26" fmla="*/ 0 h 4464050"/>
              <a:gd name="connsiteX27" fmla="*/ 806883 w 4459850"/>
              <a:gd name="connsiteY27" fmla="*/ 570628 h 4464050"/>
              <a:gd name="connsiteX28" fmla="*/ 806883 w 4459850"/>
              <a:gd name="connsiteY28" fmla="*/ 3893419 h 4464050"/>
              <a:gd name="connsiteX29" fmla="*/ 2234 w 4459850"/>
              <a:gd name="connsiteY29" fmla="*/ 4464050 h 4464050"/>
              <a:gd name="connsiteX30" fmla="*/ 0 w 4459850"/>
              <a:gd name="connsiteY30" fmla="*/ 4464050 h 4464050"/>
              <a:gd name="connsiteX31" fmla="*/ 0 w 4459850"/>
              <a:gd name="connsiteY31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570628 h 4464050"/>
              <a:gd name="connsiteX9" fmla="*/ 3541647 w 4459850"/>
              <a:gd name="connsiteY9" fmla="*/ 0 h 4464050"/>
              <a:gd name="connsiteX10" fmla="*/ 1672385 w 4459850"/>
              <a:gd name="connsiteY10" fmla="*/ 0 h 4464050"/>
              <a:gd name="connsiteX11" fmla="*/ 1673781 w 4459850"/>
              <a:gd name="connsiteY11" fmla="*/ 0 h 4464050"/>
              <a:gd name="connsiteX12" fmla="*/ 2175191 w 4459850"/>
              <a:gd name="connsiteY12" fmla="*/ 570628 h 4464050"/>
              <a:gd name="connsiteX13" fmla="*/ 2175191 w 4459850"/>
              <a:gd name="connsiteY13" fmla="*/ 3893320 h 4464050"/>
              <a:gd name="connsiteX14" fmla="*/ 1673690 w 4459850"/>
              <a:gd name="connsiteY14" fmla="*/ 4464050 h 4464050"/>
              <a:gd name="connsiteX15" fmla="*/ 1672385 w 4459850"/>
              <a:gd name="connsiteY15" fmla="*/ 4464050 h 4464050"/>
              <a:gd name="connsiteX16" fmla="*/ 1672385 w 4459850"/>
              <a:gd name="connsiteY16" fmla="*/ 0 h 4464050"/>
              <a:gd name="connsiteX17" fmla="*/ 923822 w 4459850"/>
              <a:gd name="connsiteY17" fmla="*/ 0 h 4464050"/>
              <a:gd name="connsiteX18" fmla="*/ 925575 w 4459850"/>
              <a:gd name="connsiteY18" fmla="*/ 0 h 4464050"/>
              <a:gd name="connsiteX19" fmla="*/ 1555348 w 4459850"/>
              <a:gd name="connsiteY19" fmla="*/ 570628 h 4464050"/>
              <a:gd name="connsiteX20" fmla="*/ 1555348 w 4459850"/>
              <a:gd name="connsiteY20" fmla="*/ 3893320 h 4464050"/>
              <a:gd name="connsiteX21" fmla="*/ 925461 w 4459850"/>
              <a:gd name="connsiteY21" fmla="*/ 4464050 h 4464050"/>
              <a:gd name="connsiteX22" fmla="*/ 923822 w 4459850"/>
              <a:gd name="connsiteY22" fmla="*/ 4464050 h 4464050"/>
              <a:gd name="connsiteX23" fmla="*/ 923822 w 4459850"/>
              <a:gd name="connsiteY23" fmla="*/ 0 h 4464050"/>
              <a:gd name="connsiteX24" fmla="*/ 0 w 4459850"/>
              <a:gd name="connsiteY24" fmla="*/ 0 h 4464050"/>
              <a:gd name="connsiteX25" fmla="*/ 2239 w 4459850"/>
              <a:gd name="connsiteY25" fmla="*/ 0 h 4464050"/>
              <a:gd name="connsiteX26" fmla="*/ 806883 w 4459850"/>
              <a:gd name="connsiteY26" fmla="*/ 570628 h 4464050"/>
              <a:gd name="connsiteX27" fmla="*/ 806883 w 4459850"/>
              <a:gd name="connsiteY27" fmla="*/ 3893419 h 4464050"/>
              <a:gd name="connsiteX28" fmla="*/ 2234 w 4459850"/>
              <a:gd name="connsiteY28" fmla="*/ 4464050 h 4464050"/>
              <a:gd name="connsiteX29" fmla="*/ 0 w 4459850"/>
              <a:gd name="connsiteY29" fmla="*/ 4464050 h 4464050"/>
              <a:gd name="connsiteX30" fmla="*/ 0 w 4459850"/>
              <a:gd name="connsiteY30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19994 w 4459850"/>
              <a:gd name="connsiteY5" fmla="*/ 28871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570628 h 4464050"/>
              <a:gd name="connsiteX9" fmla="*/ 3519994 w 4459850"/>
              <a:gd name="connsiteY9" fmla="*/ 28871 h 4464050"/>
              <a:gd name="connsiteX10" fmla="*/ 1672385 w 4459850"/>
              <a:gd name="connsiteY10" fmla="*/ 0 h 4464050"/>
              <a:gd name="connsiteX11" fmla="*/ 1673781 w 4459850"/>
              <a:gd name="connsiteY11" fmla="*/ 0 h 4464050"/>
              <a:gd name="connsiteX12" fmla="*/ 2175191 w 4459850"/>
              <a:gd name="connsiteY12" fmla="*/ 570628 h 4464050"/>
              <a:gd name="connsiteX13" fmla="*/ 2175191 w 4459850"/>
              <a:gd name="connsiteY13" fmla="*/ 3893320 h 4464050"/>
              <a:gd name="connsiteX14" fmla="*/ 1673690 w 4459850"/>
              <a:gd name="connsiteY14" fmla="*/ 4464050 h 4464050"/>
              <a:gd name="connsiteX15" fmla="*/ 1672385 w 4459850"/>
              <a:gd name="connsiteY15" fmla="*/ 4464050 h 4464050"/>
              <a:gd name="connsiteX16" fmla="*/ 1672385 w 4459850"/>
              <a:gd name="connsiteY16" fmla="*/ 0 h 4464050"/>
              <a:gd name="connsiteX17" fmla="*/ 923822 w 4459850"/>
              <a:gd name="connsiteY17" fmla="*/ 0 h 4464050"/>
              <a:gd name="connsiteX18" fmla="*/ 925575 w 4459850"/>
              <a:gd name="connsiteY18" fmla="*/ 0 h 4464050"/>
              <a:gd name="connsiteX19" fmla="*/ 1555348 w 4459850"/>
              <a:gd name="connsiteY19" fmla="*/ 570628 h 4464050"/>
              <a:gd name="connsiteX20" fmla="*/ 1555348 w 4459850"/>
              <a:gd name="connsiteY20" fmla="*/ 3893320 h 4464050"/>
              <a:gd name="connsiteX21" fmla="*/ 925461 w 4459850"/>
              <a:gd name="connsiteY21" fmla="*/ 4464050 h 4464050"/>
              <a:gd name="connsiteX22" fmla="*/ 923822 w 4459850"/>
              <a:gd name="connsiteY22" fmla="*/ 4464050 h 4464050"/>
              <a:gd name="connsiteX23" fmla="*/ 923822 w 4459850"/>
              <a:gd name="connsiteY23" fmla="*/ 0 h 4464050"/>
              <a:gd name="connsiteX24" fmla="*/ 0 w 4459850"/>
              <a:gd name="connsiteY24" fmla="*/ 0 h 4464050"/>
              <a:gd name="connsiteX25" fmla="*/ 2239 w 4459850"/>
              <a:gd name="connsiteY25" fmla="*/ 0 h 4464050"/>
              <a:gd name="connsiteX26" fmla="*/ 806883 w 4459850"/>
              <a:gd name="connsiteY26" fmla="*/ 570628 h 4464050"/>
              <a:gd name="connsiteX27" fmla="*/ 806883 w 4459850"/>
              <a:gd name="connsiteY27" fmla="*/ 3893419 h 4464050"/>
              <a:gd name="connsiteX28" fmla="*/ 2234 w 4459850"/>
              <a:gd name="connsiteY28" fmla="*/ 4464050 h 4464050"/>
              <a:gd name="connsiteX29" fmla="*/ 0 w 4459850"/>
              <a:gd name="connsiteY29" fmla="*/ 4464050 h 4464050"/>
              <a:gd name="connsiteX30" fmla="*/ 0 w 4459850"/>
              <a:gd name="connsiteY30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2911872 w 4459850"/>
              <a:gd name="connsiteY5" fmla="*/ 570628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570628 h 4464050"/>
              <a:gd name="connsiteX9" fmla="*/ 1672385 w 4459850"/>
              <a:gd name="connsiteY9" fmla="*/ 0 h 4464050"/>
              <a:gd name="connsiteX10" fmla="*/ 1673781 w 4459850"/>
              <a:gd name="connsiteY10" fmla="*/ 0 h 4464050"/>
              <a:gd name="connsiteX11" fmla="*/ 2175191 w 4459850"/>
              <a:gd name="connsiteY11" fmla="*/ 570628 h 4464050"/>
              <a:gd name="connsiteX12" fmla="*/ 2175191 w 4459850"/>
              <a:gd name="connsiteY12" fmla="*/ 3893320 h 4464050"/>
              <a:gd name="connsiteX13" fmla="*/ 1673690 w 4459850"/>
              <a:gd name="connsiteY13" fmla="*/ 4464050 h 4464050"/>
              <a:gd name="connsiteX14" fmla="*/ 1672385 w 4459850"/>
              <a:gd name="connsiteY14" fmla="*/ 4464050 h 4464050"/>
              <a:gd name="connsiteX15" fmla="*/ 1672385 w 4459850"/>
              <a:gd name="connsiteY15" fmla="*/ 0 h 4464050"/>
              <a:gd name="connsiteX16" fmla="*/ 923822 w 4459850"/>
              <a:gd name="connsiteY16" fmla="*/ 0 h 4464050"/>
              <a:gd name="connsiteX17" fmla="*/ 925575 w 4459850"/>
              <a:gd name="connsiteY17" fmla="*/ 0 h 4464050"/>
              <a:gd name="connsiteX18" fmla="*/ 1555348 w 4459850"/>
              <a:gd name="connsiteY18" fmla="*/ 570628 h 4464050"/>
              <a:gd name="connsiteX19" fmla="*/ 1555348 w 4459850"/>
              <a:gd name="connsiteY19" fmla="*/ 3893320 h 4464050"/>
              <a:gd name="connsiteX20" fmla="*/ 925461 w 4459850"/>
              <a:gd name="connsiteY20" fmla="*/ 4464050 h 4464050"/>
              <a:gd name="connsiteX21" fmla="*/ 923822 w 4459850"/>
              <a:gd name="connsiteY21" fmla="*/ 4464050 h 4464050"/>
              <a:gd name="connsiteX22" fmla="*/ 923822 w 4459850"/>
              <a:gd name="connsiteY22" fmla="*/ 0 h 4464050"/>
              <a:gd name="connsiteX23" fmla="*/ 0 w 4459850"/>
              <a:gd name="connsiteY23" fmla="*/ 0 h 4464050"/>
              <a:gd name="connsiteX24" fmla="*/ 2239 w 4459850"/>
              <a:gd name="connsiteY24" fmla="*/ 0 h 4464050"/>
              <a:gd name="connsiteX25" fmla="*/ 806883 w 4459850"/>
              <a:gd name="connsiteY25" fmla="*/ 570628 h 4464050"/>
              <a:gd name="connsiteX26" fmla="*/ 806883 w 4459850"/>
              <a:gd name="connsiteY26" fmla="*/ 3893419 h 4464050"/>
              <a:gd name="connsiteX27" fmla="*/ 2234 w 4459850"/>
              <a:gd name="connsiteY27" fmla="*/ 4464050 h 4464050"/>
              <a:gd name="connsiteX28" fmla="*/ 0 w 4459850"/>
              <a:gd name="connsiteY28" fmla="*/ 4464050 h 4464050"/>
              <a:gd name="connsiteX29" fmla="*/ 0 w 4459850"/>
              <a:gd name="connsiteY29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2911872 w 4459850"/>
              <a:gd name="connsiteY5" fmla="*/ 570628 h 4464050"/>
              <a:gd name="connsiteX6" fmla="*/ 3543399 w 4459850"/>
              <a:gd name="connsiteY6" fmla="*/ 4464050 h 4464050"/>
              <a:gd name="connsiteX7" fmla="*/ 2911872 w 4459850"/>
              <a:gd name="connsiteY7" fmla="*/ 570628 h 4464050"/>
              <a:gd name="connsiteX8" fmla="*/ 1672385 w 4459850"/>
              <a:gd name="connsiteY8" fmla="*/ 0 h 4464050"/>
              <a:gd name="connsiteX9" fmla="*/ 1673781 w 4459850"/>
              <a:gd name="connsiteY9" fmla="*/ 0 h 4464050"/>
              <a:gd name="connsiteX10" fmla="*/ 2175191 w 4459850"/>
              <a:gd name="connsiteY10" fmla="*/ 570628 h 4464050"/>
              <a:gd name="connsiteX11" fmla="*/ 2175191 w 4459850"/>
              <a:gd name="connsiteY11" fmla="*/ 3893320 h 4464050"/>
              <a:gd name="connsiteX12" fmla="*/ 1673690 w 4459850"/>
              <a:gd name="connsiteY12" fmla="*/ 4464050 h 4464050"/>
              <a:gd name="connsiteX13" fmla="*/ 1672385 w 4459850"/>
              <a:gd name="connsiteY13" fmla="*/ 4464050 h 4464050"/>
              <a:gd name="connsiteX14" fmla="*/ 1672385 w 4459850"/>
              <a:gd name="connsiteY14" fmla="*/ 0 h 4464050"/>
              <a:gd name="connsiteX15" fmla="*/ 923822 w 4459850"/>
              <a:gd name="connsiteY15" fmla="*/ 0 h 4464050"/>
              <a:gd name="connsiteX16" fmla="*/ 925575 w 4459850"/>
              <a:gd name="connsiteY16" fmla="*/ 0 h 4464050"/>
              <a:gd name="connsiteX17" fmla="*/ 1555348 w 4459850"/>
              <a:gd name="connsiteY17" fmla="*/ 570628 h 4464050"/>
              <a:gd name="connsiteX18" fmla="*/ 1555348 w 4459850"/>
              <a:gd name="connsiteY18" fmla="*/ 3893320 h 4464050"/>
              <a:gd name="connsiteX19" fmla="*/ 925461 w 4459850"/>
              <a:gd name="connsiteY19" fmla="*/ 4464050 h 4464050"/>
              <a:gd name="connsiteX20" fmla="*/ 923822 w 4459850"/>
              <a:gd name="connsiteY20" fmla="*/ 4464050 h 4464050"/>
              <a:gd name="connsiteX21" fmla="*/ 923822 w 4459850"/>
              <a:gd name="connsiteY21" fmla="*/ 0 h 4464050"/>
              <a:gd name="connsiteX22" fmla="*/ 0 w 4459850"/>
              <a:gd name="connsiteY22" fmla="*/ 0 h 4464050"/>
              <a:gd name="connsiteX23" fmla="*/ 2239 w 4459850"/>
              <a:gd name="connsiteY23" fmla="*/ 0 h 4464050"/>
              <a:gd name="connsiteX24" fmla="*/ 806883 w 4459850"/>
              <a:gd name="connsiteY24" fmla="*/ 570628 h 4464050"/>
              <a:gd name="connsiteX25" fmla="*/ 806883 w 4459850"/>
              <a:gd name="connsiteY25" fmla="*/ 3893419 h 4464050"/>
              <a:gd name="connsiteX26" fmla="*/ 2234 w 4459850"/>
              <a:gd name="connsiteY26" fmla="*/ 4464050 h 4464050"/>
              <a:gd name="connsiteX27" fmla="*/ 0 w 4459850"/>
              <a:gd name="connsiteY27" fmla="*/ 4464050 h 4464050"/>
              <a:gd name="connsiteX28" fmla="*/ 0 w 4459850"/>
              <a:gd name="connsiteY28" fmla="*/ 0 h 4464050"/>
              <a:gd name="connsiteX0" fmla="*/ 3660238 w 4459850"/>
              <a:gd name="connsiteY0" fmla="*/ 570628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2911872 w 4459850"/>
              <a:gd name="connsiteY4" fmla="*/ 570628 h 4464050"/>
              <a:gd name="connsiteX5" fmla="*/ 3543399 w 4459850"/>
              <a:gd name="connsiteY5" fmla="*/ 4464050 h 4464050"/>
              <a:gd name="connsiteX6" fmla="*/ 2911872 w 4459850"/>
              <a:gd name="connsiteY6" fmla="*/ 570628 h 4464050"/>
              <a:gd name="connsiteX7" fmla="*/ 1672385 w 4459850"/>
              <a:gd name="connsiteY7" fmla="*/ 0 h 4464050"/>
              <a:gd name="connsiteX8" fmla="*/ 1673781 w 4459850"/>
              <a:gd name="connsiteY8" fmla="*/ 0 h 4464050"/>
              <a:gd name="connsiteX9" fmla="*/ 2175191 w 4459850"/>
              <a:gd name="connsiteY9" fmla="*/ 570628 h 4464050"/>
              <a:gd name="connsiteX10" fmla="*/ 2175191 w 4459850"/>
              <a:gd name="connsiteY10" fmla="*/ 3893320 h 4464050"/>
              <a:gd name="connsiteX11" fmla="*/ 1673690 w 4459850"/>
              <a:gd name="connsiteY11" fmla="*/ 4464050 h 4464050"/>
              <a:gd name="connsiteX12" fmla="*/ 1672385 w 4459850"/>
              <a:gd name="connsiteY12" fmla="*/ 4464050 h 4464050"/>
              <a:gd name="connsiteX13" fmla="*/ 1672385 w 4459850"/>
              <a:gd name="connsiteY13" fmla="*/ 0 h 4464050"/>
              <a:gd name="connsiteX14" fmla="*/ 923822 w 4459850"/>
              <a:gd name="connsiteY14" fmla="*/ 0 h 4464050"/>
              <a:gd name="connsiteX15" fmla="*/ 925575 w 4459850"/>
              <a:gd name="connsiteY15" fmla="*/ 0 h 4464050"/>
              <a:gd name="connsiteX16" fmla="*/ 1555348 w 4459850"/>
              <a:gd name="connsiteY16" fmla="*/ 570628 h 4464050"/>
              <a:gd name="connsiteX17" fmla="*/ 1555348 w 4459850"/>
              <a:gd name="connsiteY17" fmla="*/ 3893320 h 4464050"/>
              <a:gd name="connsiteX18" fmla="*/ 925461 w 4459850"/>
              <a:gd name="connsiteY18" fmla="*/ 4464050 h 4464050"/>
              <a:gd name="connsiteX19" fmla="*/ 923822 w 4459850"/>
              <a:gd name="connsiteY19" fmla="*/ 4464050 h 4464050"/>
              <a:gd name="connsiteX20" fmla="*/ 923822 w 4459850"/>
              <a:gd name="connsiteY20" fmla="*/ 0 h 4464050"/>
              <a:gd name="connsiteX21" fmla="*/ 0 w 4459850"/>
              <a:gd name="connsiteY21" fmla="*/ 0 h 4464050"/>
              <a:gd name="connsiteX22" fmla="*/ 2239 w 4459850"/>
              <a:gd name="connsiteY22" fmla="*/ 0 h 4464050"/>
              <a:gd name="connsiteX23" fmla="*/ 806883 w 4459850"/>
              <a:gd name="connsiteY23" fmla="*/ 570628 h 4464050"/>
              <a:gd name="connsiteX24" fmla="*/ 806883 w 4459850"/>
              <a:gd name="connsiteY24" fmla="*/ 3893419 h 4464050"/>
              <a:gd name="connsiteX25" fmla="*/ 2234 w 4459850"/>
              <a:gd name="connsiteY25" fmla="*/ 4464050 h 4464050"/>
              <a:gd name="connsiteX26" fmla="*/ 0 w 4459850"/>
              <a:gd name="connsiteY26" fmla="*/ 4464050 h 4464050"/>
              <a:gd name="connsiteX27" fmla="*/ 0 w 4459850"/>
              <a:gd name="connsiteY27" fmla="*/ 0 h 4464050"/>
              <a:gd name="connsiteX0" fmla="*/ 3660238 w 4459850"/>
              <a:gd name="connsiteY0" fmla="*/ 570628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1672385 w 4459850"/>
              <a:gd name="connsiteY4" fmla="*/ 0 h 4464050"/>
              <a:gd name="connsiteX5" fmla="*/ 1673781 w 4459850"/>
              <a:gd name="connsiteY5" fmla="*/ 0 h 4464050"/>
              <a:gd name="connsiteX6" fmla="*/ 2175191 w 4459850"/>
              <a:gd name="connsiteY6" fmla="*/ 570628 h 4464050"/>
              <a:gd name="connsiteX7" fmla="*/ 2175191 w 4459850"/>
              <a:gd name="connsiteY7" fmla="*/ 3893320 h 4464050"/>
              <a:gd name="connsiteX8" fmla="*/ 1673690 w 4459850"/>
              <a:gd name="connsiteY8" fmla="*/ 4464050 h 4464050"/>
              <a:gd name="connsiteX9" fmla="*/ 1672385 w 4459850"/>
              <a:gd name="connsiteY9" fmla="*/ 4464050 h 4464050"/>
              <a:gd name="connsiteX10" fmla="*/ 1672385 w 4459850"/>
              <a:gd name="connsiteY10" fmla="*/ 0 h 4464050"/>
              <a:gd name="connsiteX11" fmla="*/ 923822 w 4459850"/>
              <a:gd name="connsiteY11" fmla="*/ 0 h 4464050"/>
              <a:gd name="connsiteX12" fmla="*/ 925575 w 4459850"/>
              <a:gd name="connsiteY12" fmla="*/ 0 h 4464050"/>
              <a:gd name="connsiteX13" fmla="*/ 1555348 w 4459850"/>
              <a:gd name="connsiteY13" fmla="*/ 570628 h 4464050"/>
              <a:gd name="connsiteX14" fmla="*/ 1555348 w 4459850"/>
              <a:gd name="connsiteY14" fmla="*/ 3893320 h 4464050"/>
              <a:gd name="connsiteX15" fmla="*/ 925461 w 4459850"/>
              <a:gd name="connsiteY15" fmla="*/ 4464050 h 4464050"/>
              <a:gd name="connsiteX16" fmla="*/ 923822 w 4459850"/>
              <a:gd name="connsiteY16" fmla="*/ 4464050 h 4464050"/>
              <a:gd name="connsiteX17" fmla="*/ 923822 w 4459850"/>
              <a:gd name="connsiteY17" fmla="*/ 0 h 4464050"/>
              <a:gd name="connsiteX18" fmla="*/ 0 w 4459850"/>
              <a:gd name="connsiteY18" fmla="*/ 0 h 4464050"/>
              <a:gd name="connsiteX19" fmla="*/ 2239 w 4459850"/>
              <a:gd name="connsiteY19" fmla="*/ 0 h 4464050"/>
              <a:gd name="connsiteX20" fmla="*/ 806883 w 4459850"/>
              <a:gd name="connsiteY20" fmla="*/ 570628 h 4464050"/>
              <a:gd name="connsiteX21" fmla="*/ 806883 w 4459850"/>
              <a:gd name="connsiteY21" fmla="*/ 3893419 h 4464050"/>
              <a:gd name="connsiteX22" fmla="*/ 2234 w 4459850"/>
              <a:gd name="connsiteY22" fmla="*/ 4464050 h 4464050"/>
              <a:gd name="connsiteX23" fmla="*/ 0 w 4459850"/>
              <a:gd name="connsiteY23" fmla="*/ 4464050 h 4464050"/>
              <a:gd name="connsiteX24" fmla="*/ 0 w 4459850"/>
              <a:gd name="connsiteY24" fmla="*/ 0 h 4464050"/>
              <a:gd name="connsiteX0" fmla="*/ 3660238 w 4459850"/>
              <a:gd name="connsiteY0" fmla="*/ 389341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1672385 w 4459850"/>
              <a:gd name="connsiteY3" fmla="*/ 0 h 4464050"/>
              <a:gd name="connsiteX4" fmla="*/ 1673781 w 4459850"/>
              <a:gd name="connsiteY4" fmla="*/ 0 h 4464050"/>
              <a:gd name="connsiteX5" fmla="*/ 2175191 w 4459850"/>
              <a:gd name="connsiteY5" fmla="*/ 570628 h 4464050"/>
              <a:gd name="connsiteX6" fmla="*/ 2175191 w 4459850"/>
              <a:gd name="connsiteY6" fmla="*/ 3893320 h 4464050"/>
              <a:gd name="connsiteX7" fmla="*/ 1673690 w 4459850"/>
              <a:gd name="connsiteY7" fmla="*/ 4464050 h 4464050"/>
              <a:gd name="connsiteX8" fmla="*/ 1672385 w 4459850"/>
              <a:gd name="connsiteY8" fmla="*/ 4464050 h 4464050"/>
              <a:gd name="connsiteX9" fmla="*/ 1672385 w 4459850"/>
              <a:gd name="connsiteY9" fmla="*/ 0 h 4464050"/>
              <a:gd name="connsiteX10" fmla="*/ 923822 w 4459850"/>
              <a:gd name="connsiteY10" fmla="*/ 0 h 4464050"/>
              <a:gd name="connsiteX11" fmla="*/ 925575 w 4459850"/>
              <a:gd name="connsiteY11" fmla="*/ 0 h 4464050"/>
              <a:gd name="connsiteX12" fmla="*/ 1555348 w 4459850"/>
              <a:gd name="connsiteY12" fmla="*/ 570628 h 4464050"/>
              <a:gd name="connsiteX13" fmla="*/ 1555348 w 4459850"/>
              <a:gd name="connsiteY13" fmla="*/ 3893320 h 4464050"/>
              <a:gd name="connsiteX14" fmla="*/ 925461 w 4459850"/>
              <a:gd name="connsiteY14" fmla="*/ 4464050 h 4464050"/>
              <a:gd name="connsiteX15" fmla="*/ 923822 w 4459850"/>
              <a:gd name="connsiteY15" fmla="*/ 4464050 h 4464050"/>
              <a:gd name="connsiteX16" fmla="*/ 923822 w 4459850"/>
              <a:gd name="connsiteY16" fmla="*/ 0 h 4464050"/>
              <a:gd name="connsiteX17" fmla="*/ 0 w 4459850"/>
              <a:gd name="connsiteY17" fmla="*/ 0 h 4464050"/>
              <a:gd name="connsiteX18" fmla="*/ 2239 w 4459850"/>
              <a:gd name="connsiteY18" fmla="*/ 0 h 4464050"/>
              <a:gd name="connsiteX19" fmla="*/ 806883 w 4459850"/>
              <a:gd name="connsiteY19" fmla="*/ 570628 h 4464050"/>
              <a:gd name="connsiteX20" fmla="*/ 806883 w 4459850"/>
              <a:gd name="connsiteY20" fmla="*/ 3893419 h 4464050"/>
              <a:gd name="connsiteX21" fmla="*/ 2234 w 4459850"/>
              <a:gd name="connsiteY21" fmla="*/ 4464050 h 4464050"/>
              <a:gd name="connsiteX22" fmla="*/ 0 w 4459850"/>
              <a:gd name="connsiteY22" fmla="*/ 4464050 h 4464050"/>
              <a:gd name="connsiteX23" fmla="*/ 0 w 4459850"/>
              <a:gd name="connsiteY23" fmla="*/ 0 h 4464050"/>
              <a:gd name="connsiteX0" fmla="*/ 1672385 w 2175191"/>
              <a:gd name="connsiteY0" fmla="*/ 0 h 4464050"/>
              <a:gd name="connsiteX1" fmla="*/ 1673781 w 2175191"/>
              <a:gd name="connsiteY1" fmla="*/ 0 h 4464050"/>
              <a:gd name="connsiteX2" fmla="*/ 2175191 w 2175191"/>
              <a:gd name="connsiteY2" fmla="*/ 570628 h 4464050"/>
              <a:gd name="connsiteX3" fmla="*/ 2175191 w 2175191"/>
              <a:gd name="connsiteY3" fmla="*/ 3893320 h 4464050"/>
              <a:gd name="connsiteX4" fmla="*/ 1673690 w 2175191"/>
              <a:gd name="connsiteY4" fmla="*/ 4464050 h 4464050"/>
              <a:gd name="connsiteX5" fmla="*/ 1672385 w 2175191"/>
              <a:gd name="connsiteY5" fmla="*/ 4464050 h 4464050"/>
              <a:gd name="connsiteX6" fmla="*/ 1672385 w 2175191"/>
              <a:gd name="connsiteY6" fmla="*/ 0 h 4464050"/>
              <a:gd name="connsiteX7" fmla="*/ 923822 w 2175191"/>
              <a:gd name="connsiteY7" fmla="*/ 0 h 4464050"/>
              <a:gd name="connsiteX8" fmla="*/ 925575 w 2175191"/>
              <a:gd name="connsiteY8" fmla="*/ 0 h 4464050"/>
              <a:gd name="connsiteX9" fmla="*/ 1555348 w 2175191"/>
              <a:gd name="connsiteY9" fmla="*/ 570628 h 4464050"/>
              <a:gd name="connsiteX10" fmla="*/ 1555348 w 2175191"/>
              <a:gd name="connsiteY10" fmla="*/ 3893320 h 4464050"/>
              <a:gd name="connsiteX11" fmla="*/ 925461 w 2175191"/>
              <a:gd name="connsiteY11" fmla="*/ 4464050 h 4464050"/>
              <a:gd name="connsiteX12" fmla="*/ 923822 w 2175191"/>
              <a:gd name="connsiteY12" fmla="*/ 4464050 h 4464050"/>
              <a:gd name="connsiteX13" fmla="*/ 923822 w 2175191"/>
              <a:gd name="connsiteY13" fmla="*/ 0 h 4464050"/>
              <a:gd name="connsiteX14" fmla="*/ 0 w 2175191"/>
              <a:gd name="connsiteY14" fmla="*/ 0 h 4464050"/>
              <a:gd name="connsiteX15" fmla="*/ 2239 w 2175191"/>
              <a:gd name="connsiteY15" fmla="*/ 0 h 4464050"/>
              <a:gd name="connsiteX16" fmla="*/ 806883 w 2175191"/>
              <a:gd name="connsiteY16" fmla="*/ 570628 h 4464050"/>
              <a:gd name="connsiteX17" fmla="*/ 806883 w 2175191"/>
              <a:gd name="connsiteY17" fmla="*/ 3893419 h 4464050"/>
              <a:gd name="connsiteX18" fmla="*/ 2234 w 2175191"/>
              <a:gd name="connsiteY18" fmla="*/ 4464050 h 4464050"/>
              <a:gd name="connsiteX19" fmla="*/ 0 w 2175191"/>
              <a:gd name="connsiteY19" fmla="*/ 4464050 h 4464050"/>
              <a:gd name="connsiteX20" fmla="*/ 0 w 2175191"/>
              <a:gd name="connsiteY20" fmla="*/ 0 h 446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175191" h="4464050">
                <a:moveTo>
                  <a:pt x="1672385" y="0"/>
                </a:moveTo>
                <a:lnTo>
                  <a:pt x="1673781" y="0"/>
                </a:lnTo>
                <a:lnTo>
                  <a:pt x="2175191" y="570628"/>
                </a:lnTo>
                <a:lnTo>
                  <a:pt x="2175191" y="3893320"/>
                </a:lnTo>
                <a:lnTo>
                  <a:pt x="1673690" y="4464050"/>
                </a:lnTo>
                <a:lnTo>
                  <a:pt x="1672385" y="4464050"/>
                </a:lnTo>
                <a:lnTo>
                  <a:pt x="1672385" y="0"/>
                </a:lnTo>
                <a:close/>
                <a:moveTo>
                  <a:pt x="923822" y="0"/>
                </a:moveTo>
                <a:lnTo>
                  <a:pt x="925575" y="0"/>
                </a:lnTo>
                <a:lnTo>
                  <a:pt x="1555348" y="570628"/>
                </a:lnTo>
                <a:lnTo>
                  <a:pt x="1555348" y="3893320"/>
                </a:lnTo>
                <a:lnTo>
                  <a:pt x="925461" y="4464050"/>
                </a:lnTo>
                <a:lnTo>
                  <a:pt x="923822" y="4464050"/>
                </a:lnTo>
                <a:lnTo>
                  <a:pt x="923822" y="0"/>
                </a:lnTo>
                <a:close/>
                <a:moveTo>
                  <a:pt x="0" y="0"/>
                </a:moveTo>
                <a:lnTo>
                  <a:pt x="2239" y="0"/>
                </a:lnTo>
                <a:lnTo>
                  <a:pt x="806883" y="570628"/>
                </a:lnTo>
                <a:lnTo>
                  <a:pt x="806883" y="3893419"/>
                </a:lnTo>
                <a:lnTo>
                  <a:pt x="2234" y="4464050"/>
                </a:lnTo>
                <a:lnTo>
                  <a:pt x="0" y="446405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insert pictur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C023564-A8C0-59B7-53F7-E6D3FBAED7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C7C22BE-DBF8-EC1C-C4FE-8CC06ADD63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801" y="3718131"/>
            <a:ext cx="4045514" cy="49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100">
                <a:solidFill>
                  <a:schemeClr val="tx2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</p:spTree>
    <p:extLst>
      <p:ext uri="{BB962C8B-B14F-4D97-AF65-F5344CB8AC3E}">
        <p14:creationId xmlns:p14="http://schemas.microsoft.com/office/powerpoint/2010/main" val="386074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094">
          <p15:clr>
            <a:srgbClr val="547EBF"/>
          </p15:clr>
        </p15:guide>
        <p15:guide id="3" orient="horz" pos="2822">
          <p15:clr>
            <a:srgbClr val="547EBF"/>
          </p15:clr>
        </p15:guide>
        <p15:guide id="4" pos="272">
          <p15:clr>
            <a:srgbClr val="547EBF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ogo Cover -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918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918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sp>
        <p:nvSpPr>
          <p:cNvPr id="2" name="Picture Placeholder 29">
            <a:extLst>
              <a:ext uri="{FF2B5EF4-FFF2-40B4-BE49-F238E27FC236}">
                <a16:creationId xmlns:a16="http://schemas.microsoft.com/office/drawing/2014/main" id="{CB11B69D-F8A0-EBDF-8FDF-F6C59FB328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409628" y="411164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4" name="Picture Placeholder 29">
            <a:extLst>
              <a:ext uri="{FF2B5EF4-FFF2-40B4-BE49-F238E27FC236}">
                <a16:creationId xmlns:a16="http://schemas.microsoft.com/office/drawing/2014/main" id="{162FE58C-01D8-66F8-BE7C-FC85A10D21A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5926" y="824441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5" name="Picture Placeholder 29">
            <a:extLst>
              <a:ext uri="{FF2B5EF4-FFF2-40B4-BE49-F238E27FC236}">
                <a16:creationId xmlns:a16="http://schemas.microsoft.com/office/drawing/2014/main" id="{6557B76C-2C46-F1C3-C076-3C704E6244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622224" y="1237718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247D551-215C-3522-32F8-C9D8DCC05F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CD7EB8C2-CB44-6969-78E4-FCCFCBEF5D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801" y="3718131"/>
            <a:ext cx="4045514" cy="49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100">
                <a:solidFill>
                  <a:schemeClr val="tx2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</p:spTree>
    <p:extLst>
      <p:ext uri="{BB962C8B-B14F-4D97-AF65-F5344CB8AC3E}">
        <p14:creationId xmlns:p14="http://schemas.microsoft.com/office/powerpoint/2010/main" val="895646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4">
          <p15:clr>
            <a:srgbClr val="547EBF"/>
          </p15:clr>
        </p15:guide>
        <p15:guide id="2" orient="horz" pos="2822">
          <p15:clr>
            <a:srgbClr val="547EBF"/>
          </p15:clr>
        </p15:guide>
        <p15:guide id="4" pos="272">
          <p15:clr>
            <a:srgbClr val="547EBF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00318A8-2CAD-CDEC-768A-B5B13AD3CB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DD2D1FC-FCB0-BFA6-7B56-667F7747CFD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1800" y="1239838"/>
            <a:ext cx="4051300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CE6EB6D-9FE3-72B5-4E71-59226A87B5D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660900" y="1239838"/>
            <a:ext cx="4051300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C13C02B7-ADC8-2D9F-6E44-62115A7D322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221117ED-42A8-FDD1-011C-74C6935B09A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73FF4320-CD95-4F2D-D445-C3F1316C089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969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B54C2418-D456-4DAC-9417-8C4FF4CB92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7417D00D-064A-EDFA-25E2-5D87150B171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799" y="1239838"/>
            <a:ext cx="2628000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84EF7F72-DE1C-A6C0-D702-2B69B66FE2D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258000" y="1239838"/>
            <a:ext cx="2628000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0A57B1CE-A1AF-2297-DD9E-CCAEDCF5ADE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084200" y="1239838"/>
            <a:ext cx="2628000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316DCDEE-445E-7C5A-4805-9E2DEF37355F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6A610568-7520-45F3-EF90-8771A38361F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D453492-B08E-4544-45EA-5F38E5CE273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1067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B54C2418-D456-4DAC-9417-8C4FF4CB92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985AB61-0C88-34B0-135B-840C3CA67A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1800" y="1239838"/>
            <a:ext cx="2628000" cy="1625910"/>
          </a:xfrm>
          <a:noFill/>
        </p:spPr>
        <p:txBody>
          <a:bodyPr anchor="b" anchorCtr="0">
            <a:noAutofit/>
          </a:bodyPr>
          <a:lstStyle>
            <a:lvl1pPr algn="ctr">
              <a:defRPr sz="6000">
                <a:solidFill>
                  <a:schemeClr val="accent1"/>
                </a:solidFill>
                <a:latin typeface="+mj-lt"/>
              </a:defRPr>
            </a:lvl1pPr>
            <a:lvl5pPr algn="ctr">
              <a:defRPr sz="44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Value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81EC949D-0C4A-89D8-1DA2-73269CDF4B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58000" y="1239838"/>
            <a:ext cx="2628000" cy="1625910"/>
          </a:xfrm>
          <a:noFill/>
        </p:spPr>
        <p:txBody>
          <a:bodyPr anchor="b" anchorCtr="0">
            <a:noAutofit/>
          </a:bodyPr>
          <a:lstStyle>
            <a:lvl1pPr algn="ctr">
              <a:defRPr sz="6000">
                <a:solidFill>
                  <a:schemeClr val="accent1"/>
                </a:solidFill>
                <a:latin typeface="+mj-lt"/>
              </a:defRPr>
            </a:lvl1pPr>
            <a:lvl5pPr algn="ctr">
              <a:defRPr sz="44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Value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7BDF6531-7792-62FD-1FA4-E5586F07B67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84200" y="1239838"/>
            <a:ext cx="2628000" cy="1625910"/>
          </a:xfrm>
          <a:noFill/>
        </p:spPr>
        <p:txBody>
          <a:bodyPr anchor="b" anchorCtr="0">
            <a:noAutofit/>
          </a:bodyPr>
          <a:lstStyle>
            <a:lvl1pPr algn="ctr">
              <a:defRPr sz="6000">
                <a:solidFill>
                  <a:schemeClr val="accent1"/>
                </a:solidFill>
                <a:latin typeface="+mj-lt"/>
              </a:defRPr>
            </a:lvl1pPr>
            <a:lvl5pPr algn="ctr">
              <a:defRPr sz="44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Value</a:t>
            </a:r>
            <a:endParaRPr lang="en-US"/>
          </a:p>
        </p:txBody>
      </p:sp>
      <p:sp>
        <p:nvSpPr>
          <p:cNvPr id="21" name="Content Placeholder 13">
            <a:extLst>
              <a:ext uri="{FF2B5EF4-FFF2-40B4-BE49-F238E27FC236}">
                <a16:creationId xmlns:a16="http://schemas.microsoft.com/office/drawing/2014/main" id="{384041AE-73BA-2B61-19D1-9EDA7544306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799" y="2969442"/>
            <a:ext cx="2628000" cy="154699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Content Placeholder 15">
            <a:extLst>
              <a:ext uri="{FF2B5EF4-FFF2-40B4-BE49-F238E27FC236}">
                <a16:creationId xmlns:a16="http://schemas.microsoft.com/office/drawing/2014/main" id="{CECEA6A9-3372-56EF-4363-2D117AC1CE82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258000" y="2969442"/>
            <a:ext cx="2628000" cy="154699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3" name="Content Placeholder 17">
            <a:extLst>
              <a:ext uri="{FF2B5EF4-FFF2-40B4-BE49-F238E27FC236}">
                <a16:creationId xmlns:a16="http://schemas.microsoft.com/office/drawing/2014/main" id="{40543E32-3DD0-93DE-E2AD-63B4AF51222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084200" y="2969442"/>
            <a:ext cx="2628000" cy="154699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4" name="Date Placeholder 23">
            <a:extLst>
              <a:ext uri="{FF2B5EF4-FFF2-40B4-BE49-F238E27FC236}">
                <a16:creationId xmlns:a16="http://schemas.microsoft.com/office/drawing/2014/main" id="{8707A416-C804-78B6-478D-CA50D6EE075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5" name="Footer Placeholder 24">
            <a:extLst>
              <a:ext uri="{FF2B5EF4-FFF2-40B4-BE49-F238E27FC236}">
                <a16:creationId xmlns:a16="http://schemas.microsoft.com/office/drawing/2014/main" id="{78285B88-6A20-F5A8-E6DF-45224F9CA62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574C5699-8F51-E4E5-F43C-EF08CAAFFD8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7233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B54C2418-D456-4DAC-9417-8C4FF4CB92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985AB61-0C88-34B0-135B-840C3CA67A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1800" y="1239838"/>
            <a:ext cx="2628000" cy="1625910"/>
          </a:xfrm>
          <a:noFill/>
        </p:spPr>
        <p:txBody>
          <a:bodyPr anchor="b" anchorCtr="0">
            <a:noAutofit/>
          </a:bodyPr>
          <a:lstStyle>
            <a:lvl1pPr algn="ctr">
              <a:defRPr sz="6000">
                <a:solidFill>
                  <a:schemeClr val="accent1"/>
                </a:solidFill>
                <a:latin typeface="+mj-lt"/>
              </a:defRPr>
            </a:lvl1pPr>
            <a:lvl5pPr algn="ctr">
              <a:defRPr sz="44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Value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81EC949D-0C4A-89D8-1DA2-73269CDF4B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58000" y="1239838"/>
            <a:ext cx="2628000" cy="1625910"/>
          </a:xfrm>
          <a:noFill/>
        </p:spPr>
        <p:txBody>
          <a:bodyPr anchor="b" anchorCtr="0">
            <a:noAutofit/>
          </a:bodyPr>
          <a:lstStyle>
            <a:lvl1pPr algn="ctr">
              <a:defRPr sz="6000">
                <a:solidFill>
                  <a:schemeClr val="accent1"/>
                </a:solidFill>
                <a:latin typeface="+mj-lt"/>
              </a:defRPr>
            </a:lvl1pPr>
            <a:lvl5pPr algn="ctr">
              <a:defRPr sz="44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Value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7BDF6531-7792-62FD-1FA4-E5586F07B67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84200" y="1239838"/>
            <a:ext cx="2628000" cy="1625910"/>
          </a:xfrm>
          <a:noFill/>
        </p:spPr>
        <p:txBody>
          <a:bodyPr anchor="b" anchorCtr="0">
            <a:noAutofit/>
          </a:bodyPr>
          <a:lstStyle>
            <a:lvl1pPr algn="ctr">
              <a:defRPr sz="6000">
                <a:solidFill>
                  <a:schemeClr val="accent1"/>
                </a:solidFill>
                <a:latin typeface="+mj-lt"/>
              </a:defRPr>
            </a:lvl1pPr>
            <a:lvl5pPr algn="ctr">
              <a:defRPr sz="44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Value</a:t>
            </a:r>
            <a:endParaRPr lang="en-US"/>
          </a:p>
        </p:txBody>
      </p:sp>
      <p:sp>
        <p:nvSpPr>
          <p:cNvPr id="21" name="Content Placeholder 13">
            <a:extLst>
              <a:ext uri="{FF2B5EF4-FFF2-40B4-BE49-F238E27FC236}">
                <a16:creationId xmlns:a16="http://schemas.microsoft.com/office/drawing/2014/main" id="{384041AE-73BA-2B61-19D1-9EDA7544306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799" y="2969442"/>
            <a:ext cx="2628000" cy="15469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15">
            <a:extLst>
              <a:ext uri="{FF2B5EF4-FFF2-40B4-BE49-F238E27FC236}">
                <a16:creationId xmlns:a16="http://schemas.microsoft.com/office/drawing/2014/main" id="{CECEA6A9-3372-56EF-4363-2D117AC1CE82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258000" y="2969442"/>
            <a:ext cx="2628000" cy="15469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17">
            <a:extLst>
              <a:ext uri="{FF2B5EF4-FFF2-40B4-BE49-F238E27FC236}">
                <a16:creationId xmlns:a16="http://schemas.microsoft.com/office/drawing/2014/main" id="{40543E32-3DD0-93DE-E2AD-63B4AF51222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084200" y="2969442"/>
            <a:ext cx="2628000" cy="15469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Date Placeholder 23">
            <a:extLst>
              <a:ext uri="{FF2B5EF4-FFF2-40B4-BE49-F238E27FC236}">
                <a16:creationId xmlns:a16="http://schemas.microsoft.com/office/drawing/2014/main" id="{8707A416-C804-78B6-478D-CA50D6EE075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5" name="Footer Placeholder 24">
            <a:extLst>
              <a:ext uri="{FF2B5EF4-FFF2-40B4-BE49-F238E27FC236}">
                <a16:creationId xmlns:a16="http://schemas.microsoft.com/office/drawing/2014/main" id="{78285B88-6A20-F5A8-E6DF-45224F9CA62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574C5699-8F51-E4E5-F43C-EF08CAAFFD8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7425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vs 2 colum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36E419C-17BE-AD5B-8270-C7760828C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42A69071-EAF2-371B-45AF-D91BB172112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799" y="1239838"/>
            <a:ext cx="2627314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43499CA-4C96-48CB-0E23-65C850A55F0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240088" y="1239838"/>
            <a:ext cx="5472112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5195B23-4CE8-0F83-C354-D09F3255C4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CC14E36-F7C6-9ABF-11CE-4422BC5109F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CF03D68-8FE8-BC7B-6013-06EB917B650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170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vs 2 colum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36E419C-17BE-AD5B-8270-C7760828C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42A69071-EAF2-371B-45AF-D91BB172112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799" y="1239838"/>
            <a:ext cx="1800000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43499CA-4C96-48CB-0E23-65C850A55F0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2411799" y="1239838"/>
            <a:ext cx="6300401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5195B23-4CE8-0F83-C354-D09F3255C4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CC14E36-F7C6-9ABF-11CE-4422BC5109F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CF03D68-8FE8-BC7B-6013-06EB917B650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6639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vs 1 colum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36E419C-17BE-AD5B-8270-C7760828C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42A69071-EAF2-371B-45AF-D91BB172112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67425" y="1239838"/>
            <a:ext cx="2644775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43499CA-4C96-48CB-0E23-65C850A55F0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1801" y="1239838"/>
            <a:ext cx="5454650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E3F516B-2ACE-0F0C-86DB-AFFA27054DC2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738785-29C5-511B-B330-BF0D04AE424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8741B5-C764-5AD3-6589-05D9A6F73F2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4558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vs 1 colum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36E419C-17BE-AD5B-8270-C7760828C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42A69071-EAF2-371B-45AF-D91BB172112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912200" y="1239838"/>
            <a:ext cx="1800000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43499CA-4C96-48CB-0E23-65C850A55F0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1800" y="1239838"/>
            <a:ext cx="6300401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E3F516B-2ACE-0F0C-86DB-AFFA27054DC2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738785-29C5-511B-B330-BF0D04AE424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8741B5-C764-5AD3-6589-05D9A6F73F2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93369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ked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9">
            <a:extLst>
              <a:ext uri="{FF2B5EF4-FFF2-40B4-BE49-F238E27FC236}">
                <a16:creationId xmlns:a16="http://schemas.microsoft.com/office/drawing/2014/main" id="{D3168A0B-0555-C19D-DF7D-D05F787BD2E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905335" y="446286"/>
            <a:ext cx="3801078" cy="4070152"/>
          </a:xfrm>
          <a:custGeom>
            <a:avLst/>
            <a:gdLst>
              <a:gd name="connsiteX0" fmla="*/ 1155877 w 3193298"/>
              <a:gd name="connsiteY0" fmla="*/ 0 h 3419348"/>
              <a:gd name="connsiteX1" fmla="*/ 3193298 w 3193298"/>
              <a:gd name="connsiteY1" fmla="*/ 0 h 3419348"/>
              <a:gd name="connsiteX2" fmla="*/ 3193298 w 3193298"/>
              <a:gd name="connsiteY2" fmla="*/ 2420979 h 3419348"/>
              <a:gd name="connsiteX3" fmla="*/ 2964764 w 3193298"/>
              <a:gd name="connsiteY3" fmla="*/ 2420979 h 3419348"/>
              <a:gd name="connsiteX4" fmla="*/ 2964764 w 3193298"/>
              <a:gd name="connsiteY4" fmla="*/ 2623261 h 3419348"/>
              <a:gd name="connsiteX5" fmla="*/ 2736229 w 3193298"/>
              <a:gd name="connsiteY5" fmla="*/ 2623261 h 3419348"/>
              <a:gd name="connsiteX6" fmla="*/ 2736229 w 3193298"/>
              <a:gd name="connsiteY6" fmla="*/ 2818985 h 3419348"/>
              <a:gd name="connsiteX7" fmla="*/ 2501130 w 3193298"/>
              <a:gd name="connsiteY7" fmla="*/ 2818985 h 3419348"/>
              <a:gd name="connsiteX8" fmla="*/ 2501130 w 3193298"/>
              <a:gd name="connsiteY8" fmla="*/ 3021342 h 3419348"/>
              <a:gd name="connsiteX9" fmla="*/ 2272521 w 3193298"/>
              <a:gd name="connsiteY9" fmla="*/ 3021342 h 3419348"/>
              <a:gd name="connsiteX10" fmla="*/ 2272521 w 3193298"/>
              <a:gd name="connsiteY10" fmla="*/ 3223624 h 3419348"/>
              <a:gd name="connsiteX11" fmla="*/ 2043986 w 3193298"/>
              <a:gd name="connsiteY11" fmla="*/ 3223624 h 3419348"/>
              <a:gd name="connsiteX12" fmla="*/ 2043986 w 3193298"/>
              <a:gd name="connsiteY12" fmla="*/ 3419348 h 3419348"/>
              <a:gd name="connsiteX13" fmla="*/ 0 w 3193298"/>
              <a:gd name="connsiteY13" fmla="*/ 3419348 h 3419348"/>
              <a:gd name="connsiteX14" fmla="*/ 0 w 3193298"/>
              <a:gd name="connsiteY14" fmla="*/ 1004927 h 3419348"/>
              <a:gd name="connsiteX15" fmla="*/ 235099 w 3193298"/>
              <a:gd name="connsiteY15" fmla="*/ 1004927 h 3419348"/>
              <a:gd name="connsiteX16" fmla="*/ 235099 w 3193298"/>
              <a:gd name="connsiteY16" fmla="*/ 802645 h 3419348"/>
              <a:gd name="connsiteX17" fmla="*/ 463634 w 3193298"/>
              <a:gd name="connsiteY17" fmla="*/ 802645 h 3419348"/>
              <a:gd name="connsiteX18" fmla="*/ 463634 w 3193298"/>
              <a:gd name="connsiteY18" fmla="*/ 600362 h 3419348"/>
              <a:gd name="connsiteX19" fmla="*/ 692243 w 3193298"/>
              <a:gd name="connsiteY19" fmla="*/ 600362 h 3419348"/>
              <a:gd name="connsiteX20" fmla="*/ 692243 w 3193298"/>
              <a:gd name="connsiteY20" fmla="*/ 404564 h 3419348"/>
              <a:gd name="connsiteX21" fmla="*/ 920778 w 3193298"/>
              <a:gd name="connsiteY21" fmla="*/ 404564 h 3419348"/>
              <a:gd name="connsiteX22" fmla="*/ 920778 w 3193298"/>
              <a:gd name="connsiteY22" fmla="*/ 202281 h 3419348"/>
              <a:gd name="connsiteX23" fmla="*/ 1155877 w 3193298"/>
              <a:gd name="connsiteY23" fmla="*/ 202281 h 3419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193298" h="3419348">
                <a:moveTo>
                  <a:pt x="1155877" y="0"/>
                </a:moveTo>
                <a:lnTo>
                  <a:pt x="3193298" y="0"/>
                </a:lnTo>
                <a:lnTo>
                  <a:pt x="3193298" y="2420979"/>
                </a:lnTo>
                <a:lnTo>
                  <a:pt x="2964764" y="2420979"/>
                </a:lnTo>
                <a:lnTo>
                  <a:pt x="2964764" y="2623261"/>
                </a:lnTo>
                <a:lnTo>
                  <a:pt x="2736229" y="2623261"/>
                </a:lnTo>
                <a:lnTo>
                  <a:pt x="2736229" y="2818985"/>
                </a:lnTo>
                <a:lnTo>
                  <a:pt x="2501130" y="2818985"/>
                </a:lnTo>
                <a:lnTo>
                  <a:pt x="2501130" y="3021342"/>
                </a:lnTo>
                <a:lnTo>
                  <a:pt x="2272521" y="3021342"/>
                </a:lnTo>
                <a:lnTo>
                  <a:pt x="2272521" y="3223624"/>
                </a:lnTo>
                <a:lnTo>
                  <a:pt x="2043986" y="3223624"/>
                </a:lnTo>
                <a:lnTo>
                  <a:pt x="2043986" y="3419348"/>
                </a:lnTo>
                <a:lnTo>
                  <a:pt x="0" y="3419348"/>
                </a:lnTo>
                <a:lnTo>
                  <a:pt x="0" y="1004927"/>
                </a:lnTo>
                <a:lnTo>
                  <a:pt x="235099" y="1004927"/>
                </a:lnTo>
                <a:lnTo>
                  <a:pt x="235099" y="802645"/>
                </a:lnTo>
                <a:lnTo>
                  <a:pt x="463634" y="802645"/>
                </a:lnTo>
                <a:lnTo>
                  <a:pt x="463634" y="600362"/>
                </a:lnTo>
                <a:lnTo>
                  <a:pt x="692243" y="600362"/>
                </a:lnTo>
                <a:lnTo>
                  <a:pt x="692243" y="404564"/>
                </a:lnTo>
                <a:lnTo>
                  <a:pt x="920778" y="404564"/>
                </a:lnTo>
                <a:lnTo>
                  <a:pt x="920778" y="202281"/>
                </a:lnTo>
                <a:lnTo>
                  <a:pt x="1155877" y="20228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22BA005-88CE-AF23-D026-9AAABD8FB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4051300" cy="63023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494550A-5643-FA03-A883-2DBAD62FED8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1800" y="1239838"/>
            <a:ext cx="4051300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8F0E0EF7-F728-ACF9-4DAF-02507A53974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EE0C92D8-3688-4771-2EB7-E5978942AD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8CA4690-B355-6823-5C1B-450E64DC6E8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8846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image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BB35262-E7DC-8CEA-04A4-5FD4AD8997D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7425" y="0"/>
            <a:ext cx="3076575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EF91A03-685E-A91F-E992-9F3060FEF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5454650" cy="63023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FD5CB3C-1FE9-F0D8-364C-C1D813C9D4E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1800" y="1239838"/>
            <a:ext cx="5454650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A3142EEC-31D5-03B8-5CCD-950A1A71223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035B9C22-6447-F2D3-3258-E69EFAE403A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E9F3593-2AF6-50A5-6BF8-306DF4FD892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6813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image -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8D8DEF5-F1E0-654A-F1F4-1A3201DDAE2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84783" y="428626"/>
            <a:ext cx="2627313" cy="408781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A750EC97-798E-0CCE-656F-D590BA7C5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24597A9-C0B4-7EA4-9E06-263DA9D834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1800" y="1239838"/>
            <a:ext cx="5454650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9B89C0E1-94EA-B182-FC6B-2B31EDB4F77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EA5D0958-F709-85CC-5F28-5C37E907F1B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368C3250-B02B-099F-E9FB-3EBD124FFB6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171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age -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8D8DEF5-F1E0-654A-F1F4-1A3201DDAE2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1800" y="428624"/>
            <a:ext cx="2627313" cy="408781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AC5CEB81-17E2-A76F-349F-9107B9EAA5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88" y="428625"/>
            <a:ext cx="5472112" cy="63023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CC50047-824E-09AB-3A7B-C7116E9FF95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240088" y="1239838"/>
            <a:ext cx="5472112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D8C265C5-A8C5-FC51-48BA-FB2B527ED3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0FF7712D-A0E6-8935-0902-5685204BDFE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D6343E77-BEA8-0AAC-5BC6-880EBBD829A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8066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ight image - extra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73B5B08-F499-CEEF-6D82-9A22E374BD9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240089" y="0"/>
            <a:ext cx="5903912" cy="5143500"/>
          </a:xfrm>
          <a:solidFill>
            <a:schemeClr val="bg1">
              <a:lumMod val="85000"/>
            </a:schemeClr>
          </a:solidFill>
        </p:spPr>
        <p:txBody>
          <a:bodyPr tIns="180000" anchor="t" anchorCtr="1">
            <a:norm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A8C2371-95DB-A5FC-F16F-AE205C86D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2627313" cy="63023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CC32CF2E-C3BC-9887-D9D5-B11908277EA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1800" y="1239838"/>
            <a:ext cx="2627313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58C6B807-4F7E-F6C0-B9E1-5400E9E08E8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4B6078A1-E8F2-7E90-7C4D-44601B5D9CE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A255E3EB-FCAF-00F8-3267-FEBE102F4CF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0028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vs 2 colum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36E419C-17BE-AD5B-8270-C7760828C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42A69071-EAF2-371B-45AF-D91BB172112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799" y="1239838"/>
            <a:ext cx="2627314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43499CA-4C96-48CB-0E23-65C850A55F0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240088" y="1239838"/>
            <a:ext cx="5472112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5195B23-4CE8-0F83-C354-D09F3255C4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CC14E36-F7C6-9ABF-11CE-4422BC5109F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CF03D68-8FE8-BC7B-6013-06EB917B650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578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image - extra lar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73B5B08-F499-CEEF-6D82-9A22E374BD9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240089" y="428625"/>
            <a:ext cx="5472111" cy="4087814"/>
          </a:xfrm>
          <a:solidFill>
            <a:schemeClr val="bg1">
              <a:lumMod val="85000"/>
            </a:schemeClr>
          </a:solidFill>
        </p:spPr>
        <p:txBody>
          <a:bodyPr tIns="180000" anchor="t" anchorCtr="1">
            <a:norm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A8C2371-95DB-A5FC-F16F-AE205C86D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2627313" cy="63023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CC32CF2E-C3BC-9887-D9D5-B11908277EA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1800" y="1239838"/>
            <a:ext cx="2627313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CC39BBC-394F-3025-AE20-6D850FF127E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9C4EF8-986C-0F8F-1427-3C9010CAC8D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CC431A-E416-24FB-9081-8575777B0F4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69318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09ECE5E-5953-C51A-A944-AFD82EE603F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240088" y="430212"/>
            <a:ext cx="5472112" cy="40862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10A3DBE-718E-46DD-01BD-968AF8BC1C2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1800" y="1239838"/>
            <a:ext cx="2627313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D21D6468-B655-C8C3-928E-09FE78A483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2627313" cy="63023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50313728-DF53-AECA-6F9B-733F13A582D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9E795482-8D98-C471-8860-9030371DF24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43AD9BC-16F2-A54C-21EC-550EAA71F2F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4209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Information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D9FE8A-9E17-6752-19CF-8AE3064712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4051300" cy="63023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2756C61-4B2E-3294-86A7-AC5D31BCF86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800" y="1239838"/>
            <a:ext cx="4051300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13B6BDA0-EAC4-4EBF-6B51-53817562ECA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660900" y="428624"/>
            <a:ext cx="4051300" cy="40878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91C55DC-AC33-2AA4-E244-53F3A9E330A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68FC04D8-6C07-234C-DDA0-50FB2590157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FE29179E-18DA-45B0-D48D-DF3ABFC4B74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284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One Speak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9E93CBA7-2AB7-4088-D21F-9E3972EBDD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CF152DA-058C-054C-07DB-EE09BACC6C7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2523" y="463215"/>
            <a:ext cx="3027600" cy="40428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speaker photo</a:t>
            </a:r>
          </a:p>
          <a:p>
            <a:endParaRPr lang="en-US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B364C33-A413-514B-F605-A7357766877F}"/>
              </a:ext>
            </a:extLst>
          </p:cNvPr>
          <p:cNvSpPr>
            <a:spLocks noGrp="1"/>
          </p:cNvSpPr>
          <p:nvPr>
            <p:ph type="body" sz="half" idx="15" hasCustomPrompt="1"/>
          </p:nvPr>
        </p:nvSpPr>
        <p:spPr>
          <a:xfrm>
            <a:off x="431800" y="3090440"/>
            <a:ext cx="2628000" cy="142599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 b="0">
                <a:solidFill>
                  <a:schemeClr val="bg1"/>
                </a:solidFill>
              </a:defRPr>
            </a:lvl2pPr>
            <a:lvl3pPr marL="0" indent="0">
              <a:spcAft>
                <a:spcPts val="120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None/>
              <a:defRPr sz="1100">
                <a:solidFill>
                  <a:schemeClr val="bg1"/>
                </a:solidFill>
              </a:defRPr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6AD11AB-D473-6C67-57B3-FF5B6FFF1C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239838"/>
            <a:ext cx="2627113" cy="16079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C58CEB-295F-D247-0101-C871FB7E65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11163"/>
            <a:ext cx="4051100" cy="647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AC8C52B6-FF52-78EC-3370-6EA5EA221F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4717794"/>
            <a:ext cx="931863" cy="128588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79CE7D-266F-175A-F041-E50AD7CB7B9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9BE6BA8-F680-BC9C-E465-2733A6260E3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1C6DDD-3AF4-3F82-A267-CF6E338A602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6285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One Speaker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25D3D1B-E3D3-AB1B-D143-10AF747C55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CF152DA-058C-054C-07DB-EE09BACC6C7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2523" y="463215"/>
            <a:ext cx="3027600" cy="40428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speaker photo</a:t>
            </a:r>
          </a:p>
          <a:p>
            <a:endParaRPr lang="en-US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B364C33-A413-514B-F605-A7357766877F}"/>
              </a:ext>
            </a:extLst>
          </p:cNvPr>
          <p:cNvSpPr>
            <a:spLocks noGrp="1"/>
          </p:cNvSpPr>
          <p:nvPr>
            <p:ph type="body" sz="half" idx="15" hasCustomPrompt="1"/>
          </p:nvPr>
        </p:nvSpPr>
        <p:spPr>
          <a:xfrm>
            <a:off x="431800" y="3090440"/>
            <a:ext cx="2628000" cy="142599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 b="0">
                <a:solidFill>
                  <a:schemeClr val="bg1"/>
                </a:solidFill>
              </a:defRPr>
            </a:lvl2pPr>
            <a:lvl3pPr marL="0" indent="0">
              <a:spcAft>
                <a:spcPts val="120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None/>
              <a:defRPr sz="1100">
                <a:solidFill>
                  <a:schemeClr val="bg1"/>
                </a:solidFill>
              </a:defRPr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6AD11AB-D473-6C67-57B3-FF5B6FFF1C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239838"/>
            <a:ext cx="2627113" cy="16079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CB2935-FAD1-1791-D5B8-44B3A222C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11163"/>
            <a:ext cx="4051100" cy="647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ACDC90DA-242A-7E08-23F5-78BEC3FA94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4717794"/>
            <a:ext cx="931863" cy="128588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FBD1974-02AE-680E-A038-2C5F9C804B9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FD34A61-54A2-00C2-E7EC-DBA984C8D76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7D1CFED-4A28-21C9-319E-8E08AD661A2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8721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One Speaker Grap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50B8364-FFC6-CA73-8368-A499D783F9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CF152DA-058C-054C-07DB-EE09BACC6C7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2523" y="463215"/>
            <a:ext cx="3027600" cy="40428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speaker photo</a:t>
            </a:r>
          </a:p>
          <a:p>
            <a:endParaRPr lang="en-US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B364C33-A413-514B-F605-A7357766877F}"/>
              </a:ext>
            </a:extLst>
          </p:cNvPr>
          <p:cNvSpPr>
            <a:spLocks noGrp="1"/>
          </p:cNvSpPr>
          <p:nvPr>
            <p:ph type="body" sz="half" idx="15" hasCustomPrompt="1"/>
          </p:nvPr>
        </p:nvSpPr>
        <p:spPr>
          <a:xfrm>
            <a:off x="431800" y="3090440"/>
            <a:ext cx="2628000" cy="142599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 b="0">
                <a:solidFill>
                  <a:schemeClr val="bg1"/>
                </a:solidFill>
              </a:defRPr>
            </a:lvl2pPr>
            <a:lvl3pPr marL="0" indent="0">
              <a:spcAft>
                <a:spcPts val="120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None/>
              <a:defRPr sz="1100">
                <a:solidFill>
                  <a:schemeClr val="bg1"/>
                </a:solidFill>
              </a:defRPr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6AD11AB-D473-6C67-57B3-FF5B6FFF1C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239838"/>
            <a:ext cx="2627113" cy="16079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3122524-CBD6-B34E-F711-00A450DCC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11163"/>
            <a:ext cx="4051100" cy="647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42103A1-C19B-4710-BF23-05B8E8E95A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4717794"/>
            <a:ext cx="931863" cy="128588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2614AF4-3592-861D-97B8-EE9E3C7DED6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07A4CF8-F77D-D771-5286-A766FA670BB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AC8B51C-9E9B-5ED5-1F72-83172617D20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5563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heading only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5166038-EB60-1A49-6801-6DA719F29B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402" y="1599406"/>
            <a:ext cx="4051300" cy="1944688"/>
          </a:xfrm>
        </p:spPr>
        <p:txBody>
          <a:bodyPr anchor="ctr"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Picture Placeholder 29">
            <a:extLst>
              <a:ext uri="{FF2B5EF4-FFF2-40B4-BE49-F238E27FC236}">
                <a16:creationId xmlns:a16="http://schemas.microsoft.com/office/drawing/2014/main" id="{32382752-6AAC-4C49-57BC-B5DC63F6788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657421" y="-724432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7" name="Picture Placeholder 29">
            <a:extLst>
              <a:ext uri="{FF2B5EF4-FFF2-40B4-BE49-F238E27FC236}">
                <a16:creationId xmlns:a16="http://schemas.microsoft.com/office/drawing/2014/main" id="{5F8681D4-5943-149A-AB68-476E4D76F83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003715" y="-295807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8" name="Picture Placeholder 29">
            <a:extLst>
              <a:ext uri="{FF2B5EF4-FFF2-40B4-BE49-F238E27FC236}">
                <a16:creationId xmlns:a16="http://schemas.microsoft.com/office/drawing/2014/main" id="{379CE92C-4017-4178-B601-ADE20527D2F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350009" y="132818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9" name="Picture Placeholder 29">
            <a:extLst>
              <a:ext uri="{FF2B5EF4-FFF2-40B4-BE49-F238E27FC236}">
                <a16:creationId xmlns:a16="http://schemas.microsoft.com/office/drawing/2014/main" id="{A218E014-B1A2-A155-EDC6-037D40F8388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696303" y="561443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3" name="Picture Placeholder 29">
            <a:extLst>
              <a:ext uri="{FF2B5EF4-FFF2-40B4-BE49-F238E27FC236}">
                <a16:creationId xmlns:a16="http://schemas.microsoft.com/office/drawing/2014/main" id="{E9C5E5A2-3DA7-6FA5-ADB2-6D441CC461F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42597" y="990068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5" name="Picture Placeholder 29">
            <a:extLst>
              <a:ext uri="{FF2B5EF4-FFF2-40B4-BE49-F238E27FC236}">
                <a16:creationId xmlns:a16="http://schemas.microsoft.com/office/drawing/2014/main" id="{B9FF9038-CC52-0DA2-647C-5DB82FFC4E5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8891" y="1418693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757AB831-E309-E2A9-1162-A07B0ADCEBE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69F1CAA-1970-E0D8-E4F9-E75BF3DE9C6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6CB7459C-BD5D-8559-0442-D6E473598DC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9492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1043">
          <p15:clr>
            <a:srgbClr val="FBAE40"/>
          </p15:clr>
        </p15:guide>
        <p15:guide id="3" pos="1791">
          <p15:clr>
            <a:srgbClr val="FBAE40"/>
          </p15:clr>
        </p15:guide>
        <p15:guide id="4" orient="horz" pos="2845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heading only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60">
            <a:extLst>
              <a:ext uri="{FF2B5EF4-FFF2-40B4-BE49-F238E27FC236}">
                <a16:creationId xmlns:a16="http://schemas.microsoft.com/office/drawing/2014/main" id="{2CDC2CA3-D176-F048-3B40-1D07CB40FF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56114" y="930150"/>
            <a:ext cx="1288800" cy="3283200"/>
          </a:xfrm>
          <a:custGeom>
            <a:avLst/>
            <a:gdLst>
              <a:gd name="connsiteX0" fmla="*/ 1288800 w 1288800"/>
              <a:gd name="connsiteY0" fmla="*/ 0 h 3283200"/>
              <a:gd name="connsiteX1" fmla="*/ 1288800 w 1288800"/>
              <a:gd name="connsiteY1" fmla="*/ 3283200 h 3283200"/>
              <a:gd name="connsiteX2" fmla="*/ 679913 w 1288800"/>
              <a:gd name="connsiteY2" fmla="*/ 2862614 h 3283200"/>
              <a:gd name="connsiteX3" fmla="*/ 679913 w 1288800"/>
              <a:gd name="connsiteY3" fmla="*/ 420588 h 3283200"/>
              <a:gd name="connsiteX4" fmla="*/ 608888 w 1288800"/>
              <a:gd name="connsiteY4" fmla="*/ 0 h 3283200"/>
              <a:gd name="connsiteX5" fmla="*/ 608888 w 1288800"/>
              <a:gd name="connsiteY5" fmla="*/ 3283200 h 3283200"/>
              <a:gd name="connsiteX6" fmla="*/ 0 w 1288800"/>
              <a:gd name="connsiteY6" fmla="*/ 2862614 h 3283200"/>
              <a:gd name="connsiteX7" fmla="*/ 0 w 1288800"/>
              <a:gd name="connsiteY7" fmla="*/ 420588 h 328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8800" h="3283200">
                <a:moveTo>
                  <a:pt x="1288800" y="0"/>
                </a:moveTo>
                <a:lnTo>
                  <a:pt x="1288800" y="3283200"/>
                </a:lnTo>
                <a:lnTo>
                  <a:pt x="679913" y="2862614"/>
                </a:lnTo>
                <a:lnTo>
                  <a:pt x="679913" y="420588"/>
                </a:lnTo>
                <a:close/>
                <a:moveTo>
                  <a:pt x="608888" y="0"/>
                </a:moveTo>
                <a:lnTo>
                  <a:pt x="608888" y="3283200"/>
                </a:lnTo>
                <a:lnTo>
                  <a:pt x="0" y="2862614"/>
                </a:lnTo>
                <a:lnTo>
                  <a:pt x="0" y="4205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5166038-EB60-1A49-6801-6DA719F29B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402" y="1599406"/>
            <a:ext cx="4051300" cy="1944688"/>
          </a:xfrm>
        </p:spPr>
        <p:txBody>
          <a:bodyPr anchor="ctr"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2" name="Picture Placeholder 61">
            <a:extLst>
              <a:ext uri="{FF2B5EF4-FFF2-40B4-BE49-F238E27FC236}">
                <a16:creationId xmlns:a16="http://schemas.microsoft.com/office/drawing/2014/main" id="{3DE3BFB5-899E-1535-8CE4-BAA8259800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45956" y="930150"/>
            <a:ext cx="1288800" cy="3283200"/>
          </a:xfrm>
          <a:custGeom>
            <a:avLst/>
            <a:gdLst>
              <a:gd name="connsiteX0" fmla="*/ 1288800 w 1288800"/>
              <a:gd name="connsiteY0" fmla="*/ 0 h 3283200"/>
              <a:gd name="connsiteX1" fmla="*/ 1288800 w 1288800"/>
              <a:gd name="connsiteY1" fmla="*/ 3283200 h 3283200"/>
              <a:gd name="connsiteX2" fmla="*/ 679913 w 1288800"/>
              <a:gd name="connsiteY2" fmla="*/ 2862614 h 3283200"/>
              <a:gd name="connsiteX3" fmla="*/ 679913 w 1288800"/>
              <a:gd name="connsiteY3" fmla="*/ 420588 h 3283200"/>
              <a:gd name="connsiteX4" fmla="*/ 608888 w 1288800"/>
              <a:gd name="connsiteY4" fmla="*/ 0 h 3283200"/>
              <a:gd name="connsiteX5" fmla="*/ 608888 w 1288800"/>
              <a:gd name="connsiteY5" fmla="*/ 3283200 h 3283200"/>
              <a:gd name="connsiteX6" fmla="*/ 0 w 1288800"/>
              <a:gd name="connsiteY6" fmla="*/ 2862614 h 3283200"/>
              <a:gd name="connsiteX7" fmla="*/ 0 w 1288800"/>
              <a:gd name="connsiteY7" fmla="*/ 420588 h 328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8800" h="3283200">
                <a:moveTo>
                  <a:pt x="1288800" y="0"/>
                </a:moveTo>
                <a:lnTo>
                  <a:pt x="1288800" y="3283200"/>
                </a:lnTo>
                <a:lnTo>
                  <a:pt x="679913" y="2862614"/>
                </a:lnTo>
                <a:lnTo>
                  <a:pt x="679913" y="420588"/>
                </a:lnTo>
                <a:close/>
                <a:moveTo>
                  <a:pt x="608888" y="0"/>
                </a:moveTo>
                <a:lnTo>
                  <a:pt x="608888" y="3283200"/>
                </a:lnTo>
                <a:lnTo>
                  <a:pt x="0" y="2862614"/>
                </a:lnTo>
                <a:lnTo>
                  <a:pt x="0" y="4205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63" name="Picture Placeholder 62">
            <a:extLst>
              <a:ext uri="{FF2B5EF4-FFF2-40B4-BE49-F238E27FC236}">
                <a16:creationId xmlns:a16="http://schemas.microsoft.com/office/drawing/2014/main" id="{83D36DA0-8155-A164-37F4-6DADEA5EF59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435798" y="930150"/>
            <a:ext cx="1288800" cy="3283200"/>
          </a:xfrm>
          <a:custGeom>
            <a:avLst/>
            <a:gdLst>
              <a:gd name="connsiteX0" fmla="*/ 1288800 w 1288800"/>
              <a:gd name="connsiteY0" fmla="*/ 0 h 3283200"/>
              <a:gd name="connsiteX1" fmla="*/ 1288800 w 1288800"/>
              <a:gd name="connsiteY1" fmla="*/ 3283200 h 3283200"/>
              <a:gd name="connsiteX2" fmla="*/ 679913 w 1288800"/>
              <a:gd name="connsiteY2" fmla="*/ 2862614 h 3283200"/>
              <a:gd name="connsiteX3" fmla="*/ 679913 w 1288800"/>
              <a:gd name="connsiteY3" fmla="*/ 420588 h 3283200"/>
              <a:gd name="connsiteX4" fmla="*/ 608888 w 1288800"/>
              <a:gd name="connsiteY4" fmla="*/ 0 h 3283200"/>
              <a:gd name="connsiteX5" fmla="*/ 608888 w 1288800"/>
              <a:gd name="connsiteY5" fmla="*/ 3283200 h 3283200"/>
              <a:gd name="connsiteX6" fmla="*/ 0 w 1288800"/>
              <a:gd name="connsiteY6" fmla="*/ 2862614 h 3283200"/>
              <a:gd name="connsiteX7" fmla="*/ 0 w 1288800"/>
              <a:gd name="connsiteY7" fmla="*/ 420588 h 328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8800" h="3283200">
                <a:moveTo>
                  <a:pt x="1288800" y="0"/>
                </a:moveTo>
                <a:lnTo>
                  <a:pt x="1288800" y="3283200"/>
                </a:lnTo>
                <a:lnTo>
                  <a:pt x="679913" y="2862614"/>
                </a:lnTo>
                <a:lnTo>
                  <a:pt x="679913" y="420588"/>
                </a:lnTo>
                <a:close/>
                <a:moveTo>
                  <a:pt x="608888" y="0"/>
                </a:moveTo>
                <a:lnTo>
                  <a:pt x="608888" y="3283200"/>
                </a:lnTo>
                <a:lnTo>
                  <a:pt x="0" y="2862614"/>
                </a:lnTo>
                <a:lnTo>
                  <a:pt x="0" y="4205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64" name="Date Placeholder 63">
            <a:extLst>
              <a:ext uri="{FF2B5EF4-FFF2-40B4-BE49-F238E27FC236}">
                <a16:creationId xmlns:a16="http://schemas.microsoft.com/office/drawing/2014/main" id="{F014DD11-2B27-F8D6-DEFE-C1403A9A5BC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5" name="Footer Placeholder 64">
            <a:extLst>
              <a:ext uri="{FF2B5EF4-FFF2-40B4-BE49-F238E27FC236}">
                <a16:creationId xmlns:a16="http://schemas.microsoft.com/office/drawing/2014/main" id="{488391DB-10E0-47B1-01B7-AE92CDCA13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6" name="Slide Number Placeholder 65">
            <a:extLst>
              <a:ext uri="{FF2B5EF4-FFF2-40B4-BE49-F238E27FC236}">
                <a16:creationId xmlns:a16="http://schemas.microsoft.com/office/drawing/2014/main" id="{B9F156C1-7703-1CFD-3B04-34BE83A08F2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1533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1043">
          <p15:clr>
            <a:srgbClr val="FBAE40"/>
          </p15:clr>
        </p15:guide>
        <p15:guide id="3" pos="1791">
          <p15:clr>
            <a:srgbClr val="FBAE40"/>
          </p15:clr>
        </p15:guide>
        <p15:guide id="4" orient="horz" pos="2845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23D22629-AACC-C893-6943-13D0F102FDF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84887" y="430213"/>
            <a:ext cx="2628000" cy="2412000"/>
          </a:xfrm>
        </p:spPr>
        <p:txBody>
          <a:bodyPr/>
          <a:lstStyle/>
          <a:p>
            <a:r>
              <a:rPr lang="en-US"/>
              <a:t>Click to add speaker phot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2C327A-2719-4897-2E0E-132CA0C33E2D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6084887" y="3090440"/>
            <a:ext cx="2628000" cy="1425997"/>
          </a:xfrm>
        </p:spPr>
        <p:txBody>
          <a:bodyPr/>
          <a:lstStyle>
            <a:lvl1pPr marL="0" indent="0">
              <a:buNone/>
              <a:defRPr sz="1600"/>
            </a:lvl1pPr>
            <a:lvl2pPr marL="0" indent="0">
              <a:buNone/>
              <a:defRPr sz="1400" b="1"/>
            </a:lvl2pPr>
            <a:lvl3pPr marL="0" indent="0">
              <a:spcAft>
                <a:spcPts val="1200"/>
              </a:spcAft>
              <a:buNone/>
              <a:defRPr sz="1400"/>
            </a:lvl3pPr>
            <a:lvl4pPr marL="0" indent="0">
              <a:buNone/>
              <a:defRPr sz="11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FF65693-F1FD-4BAE-0382-AD4943C7E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5454650" cy="63023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01D11CE8-9FF0-8FB3-3EA4-F2FD11B4C05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800" y="1239837"/>
            <a:ext cx="5454650" cy="32766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F736CA55-88EC-8ED2-B2A1-C02176A6F5E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7B72FD2F-D520-3B33-E031-262D1C6952C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D92194F8-4608-CA2B-F7A6-FAE21308D5E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5865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F94955A-6C35-0A99-3112-4B2335D735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49613" y="430213"/>
            <a:ext cx="2628000" cy="2412000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speaker photo</a:t>
            </a:r>
          </a:p>
          <a:p>
            <a:endParaRPr lang="en-US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23D22629-AACC-C893-6943-13D0F102FDF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84887" y="430213"/>
            <a:ext cx="2628000" cy="2412000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speaker photo</a:t>
            </a:r>
          </a:p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F7518CB2-BCC0-67CE-C411-8E5B94AD77A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249613" y="3090441"/>
            <a:ext cx="2628000" cy="1389484"/>
          </a:xfrm>
        </p:spPr>
        <p:txBody>
          <a:bodyPr/>
          <a:lstStyle>
            <a:lvl1pPr marL="0" indent="0">
              <a:buNone/>
              <a:defRPr sz="1600"/>
            </a:lvl1pPr>
            <a:lvl2pPr marL="0" indent="0">
              <a:buNone/>
              <a:defRPr sz="1400" b="1"/>
            </a:lvl2pPr>
            <a:lvl3pPr marL="0" indent="0">
              <a:spcAft>
                <a:spcPts val="1200"/>
              </a:spcAft>
              <a:buNone/>
              <a:defRPr sz="1400"/>
            </a:lvl3pPr>
            <a:lvl4pPr marL="0" indent="0">
              <a:buNone/>
              <a:defRPr sz="11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19B357C-3E5E-AC89-0543-249DE97A476D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6084887" y="3090441"/>
            <a:ext cx="2628000" cy="1389484"/>
          </a:xfrm>
        </p:spPr>
        <p:txBody>
          <a:bodyPr/>
          <a:lstStyle>
            <a:lvl1pPr marL="0" indent="0">
              <a:buNone/>
              <a:defRPr sz="1600"/>
            </a:lvl1pPr>
            <a:lvl2pPr marL="0" indent="0">
              <a:buNone/>
              <a:defRPr sz="1400" b="1"/>
            </a:lvl2pPr>
            <a:lvl3pPr marL="0" indent="0">
              <a:spcAft>
                <a:spcPts val="1200"/>
              </a:spcAft>
              <a:buNone/>
              <a:defRPr sz="1400"/>
            </a:lvl3pPr>
            <a:lvl4pPr marL="0" indent="0">
              <a:buNone/>
              <a:defRPr sz="11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8F38859-D1C1-4D86-C9FE-6CBBF5FE2C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2627313" cy="63023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28C83DB3-DFEC-7527-9A0E-57629B10AB0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800" y="1239838"/>
            <a:ext cx="2627313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2808ACBE-00C7-A2CE-D429-1D7F0FE8845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06AC1E29-1D0A-50AE-1153-91C38BD0D56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82EB3F2-FC23-6612-0C05-7AB4771415A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1037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vs 2 colum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36E419C-17BE-AD5B-8270-C7760828C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42A69071-EAF2-371B-45AF-D91BB172112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799" y="1239838"/>
            <a:ext cx="1800000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43499CA-4C96-48CB-0E23-65C850A55F0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2411799" y="1239838"/>
            <a:ext cx="6300401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5195B23-4CE8-0F83-C354-D09F3255C4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CC14E36-F7C6-9ABF-11CE-4422BC5109F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CF03D68-8FE8-BC7B-6013-06EB917B650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733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el_less than 4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23D22629-AACC-C893-6943-13D0F102FDF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54375" y="1605101"/>
            <a:ext cx="1211263" cy="1111708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speaker photo</a:t>
            </a:r>
          </a:p>
          <a:p>
            <a:endParaRPr lang="en-US"/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427DA08C-177E-F04B-9C15-E22EE085739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669896" y="1610744"/>
            <a:ext cx="1211263" cy="1111708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speaker photo</a:t>
            </a:r>
          </a:p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AD3CEEB-B614-A1A5-E4A5-8885178F22E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85417" y="1610744"/>
            <a:ext cx="1211263" cy="1111708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speaker photo</a:t>
            </a:r>
          </a:p>
          <a:p>
            <a:endParaRPr lang="en-US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45019459-9679-8F48-4E11-4A53DEFBCCC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500937" y="1610744"/>
            <a:ext cx="1211263" cy="1111708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speaker photo</a:t>
            </a:r>
          </a:p>
          <a:p>
            <a:endParaRPr lang="en-US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99B1EB15-2AA1-BE6A-7606-2A7D7BF583C6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3254375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E7E1F67-D5C5-475D-37A8-F97AEBEE3A46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4669896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98E11567-E32A-37C4-605A-FF3FCECC8BF4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6085417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2FDB62B-15C5-9CCB-B3CB-6247CEE74FA5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7500937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5F49F8C-FE74-7B8A-BC5B-3C4549BA8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F1AE56F-FC2F-8B1A-D55F-425120F131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54375" y="1239838"/>
            <a:ext cx="5457825" cy="245772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add panel or speaker heading</a:t>
            </a:r>
            <a:endParaRPr lang="en-US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D9FBC734-062E-6F41-5510-2CB5A0DB84E8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31800" y="1239838"/>
            <a:ext cx="2627313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049F9C5E-D7AA-0F02-070D-96D053FF4F8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D0CCDC90-CA2A-C50E-AEE0-5C354AEF7C28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376E706A-0FF9-DA8F-0C2D-C96D54DF6E9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7042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el_more than 4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AFCC1184-3DE3-8F04-8CF9-D417F31A39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54375" y="1239838"/>
            <a:ext cx="5457825" cy="245772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add panel or speaker heading</a:t>
            </a:r>
            <a:endParaRPr lang="en-US"/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D31B236C-C114-3190-6B06-C940190626EC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3254375" y="3110092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CCBB9E89-9D54-5D73-94A9-4B95AE1C1FE0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4669896" y="3110092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95B97352-951E-E924-1917-DAEE22D9ACBE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6085417" y="3110092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A917C1FE-213A-643B-4405-AC952A023E6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7500937" y="3110092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90A86B70-8AC4-FCB6-685C-7DD07A274E8F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3254175" y="1599687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7D7C14DD-407D-07C6-497A-DC3E1DB28826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4669696" y="1599687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E5137970-C136-1740-8D23-BDE74EAEC6A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6085217" y="1599687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03515153-C382-A4AA-2B1A-9E667578CF2B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7500737" y="1599687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0B3E7B-8BAA-177B-DE7F-D25E430802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1999"/>
            <a:ext cx="8280000" cy="6268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14">
            <a:extLst>
              <a:ext uri="{FF2B5EF4-FFF2-40B4-BE49-F238E27FC236}">
                <a16:creationId xmlns:a16="http://schemas.microsoft.com/office/drawing/2014/main" id="{A7327519-CC28-0210-A08B-69220EBD604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31800" y="1239838"/>
            <a:ext cx="2627313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F782F27-CD1B-085F-D3C8-3BD958B4537D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CDB4F78-E25E-96F8-CD0D-3226BF34198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7CB2D31-FFE8-1331-2AF3-7022EB9F7FBB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9765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el_less than 6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C237CC5-3A8A-4ADC-E68E-CABE38517D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1800" y="1239838"/>
            <a:ext cx="8280400" cy="245772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add panel or speaker heading</a:t>
            </a:r>
            <a:endParaRPr lang="en-US"/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B7761E2B-E846-942D-7A91-E535F6D7B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1F2D5110-43C7-E266-3CA5-AEC4AEA2FE6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59454" y="1605101"/>
            <a:ext cx="1211263" cy="1111708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speaker photo</a:t>
            </a:r>
          </a:p>
          <a:p>
            <a:endParaRPr lang="en-US"/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6E2678D7-41D4-486F-FF4F-78C04CE57A2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673281" y="1605101"/>
            <a:ext cx="1211263" cy="1111708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speaker photo</a:t>
            </a:r>
          </a:p>
          <a:p>
            <a:endParaRPr lang="en-US"/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1C6721DE-C642-F39D-0463-7360E045FD9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87108" y="1605101"/>
            <a:ext cx="1211263" cy="1111708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speaker photo</a:t>
            </a:r>
          </a:p>
          <a:p>
            <a:endParaRPr lang="en-US"/>
          </a:p>
        </p:txBody>
      </p:sp>
      <p:sp>
        <p:nvSpPr>
          <p:cNvPr id="25" name="Picture Placeholder 8">
            <a:extLst>
              <a:ext uri="{FF2B5EF4-FFF2-40B4-BE49-F238E27FC236}">
                <a16:creationId xmlns:a16="http://schemas.microsoft.com/office/drawing/2014/main" id="{99CF8B11-C1E7-E774-563D-8C710DF2ED7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500937" y="1605101"/>
            <a:ext cx="1211263" cy="1111708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speaker photo</a:t>
            </a:r>
          </a:p>
          <a:p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79FF5601-5F17-187C-AB46-ADB8C72EBDA4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3259454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EEC3B744-4E6C-AAAF-E440-2A014CCFD8B7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4673281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B95A5C80-DAB6-A2F5-C295-AB80426D43DA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6087108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E5FE90F1-EC32-69FD-AEF2-0710A6254081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7500937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30" name="Picture Placeholder 8">
            <a:extLst>
              <a:ext uri="{FF2B5EF4-FFF2-40B4-BE49-F238E27FC236}">
                <a16:creationId xmlns:a16="http://schemas.microsoft.com/office/drawing/2014/main" id="{B4F18A0E-A745-69E0-6757-DAC2DE59D81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1798" y="1605101"/>
            <a:ext cx="1211263" cy="1111708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speaker photo</a:t>
            </a:r>
          </a:p>
          <a:p>
            <a:endParaRPr lang="en-US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5400D85E-B618-DE2D-2EAD-6DAC6CCDF146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431800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51BBF7E9-AAFF-17E0-B415-1D4E897FB72A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845627" y="1605101"/>
            <a:ext cx="1211263" cy="1111708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speaker photo</a:t>
            </a:r>
          </a:p>
          <a:p>
            <a:endParaRPr lang="en-US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2365336-BFD6-03F6-AF22-F302361D167F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1845627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34" name="Date Placeholder 33">
            <a:extLst>
              <a:ext uri="{FF2B5EF4-FFF2-40B4-BE49-F238E27FC236}">
                <a16:creationId xmlns:a16="http://schemas.microsoft.com/office/drawing/2014/main" id="{B43F45F1-73AE-354B-5227-885DC9D3A5B6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5" name="Footer Placeholder 34">
            <a:extLst>
              <a:ext uri="{FF2B5EF4-FFF2-40B4-BE49-F238E27FC236}">
                <a16:creationId xmlns:a16="http://schemas.microsoft.com/office/drawing/2014/main" id="{9715EA20-185E-1BEE-C190-1D349718ED07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6" name="Slide Number Placeholder 35">
            <a:extLst>
              <a:ext uri="{FF2B5EF4-FFF2-40B4-BE49-F238E27FC236}">
                <a16:creationId xmlns:a16="http://schemas.microsoft.com/office/drawing/2014/main" id="{FED1F77B-4203-47EB-654C-2693FA118347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8503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el_more than 8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EB59006-3BBD-281F-78D1-D9352B75BFA0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428625" y="3124789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06FD665-8996-D763-D378-1F8C1C1F04AF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1843087" y="3124789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A6DA1A1-C8F3-25DB-1B58-CF796E169931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3257549" y="3124789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1566D6F6-0E3F-EE0A-BBC1-1589B98FF895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672011" y="3124789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2137304-3F5A-F067-1B98-F70E467B0F88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428625" y="1605101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54D785B4-1E7D-81DC-5654-49C69F189311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1843087" y="1605101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B23AC1B5-5F47-BB1D-E8EA-585C0B1647D2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3257549" y="1605101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A8E68E8D-F5B9-B58B-5831-66EA641AB681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4672011" y="1605101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EBB07D1A-E13C-6B4F-6A33-9C40B1B00093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6086473" y="3124789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7EBAAB38-F3A7-5DE4-A3F0-6EE99A87E487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7500935" y="3124789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FFAC1B36-70E1-2D2A-75AF-324C1B10CA52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6086473" y="1605101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B4B5F10B-4FDD-5D57-0116-DF3B28C404EA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7500935" y="1605101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2FAC179E-C178-B33A-1969-ECA62CBC250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1800" y="1239838"/>
            <a:ext cx="8280400" cy="245772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add panel or speaker heading</a:t>
            </a:r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7B589FB-7C6D-AF47-10F1-0447825B9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C710ACAE-3913-A896-C1B0-664A9135FAE4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8E78662B-DCB6-D231-01F7-BB4B6AB368A6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AE344883-160A-DA58-EA75-78B9547ED9E1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3694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Quote Paper">
    <p:bg>
      <p:bgPr>
        <a:solidFill>
          <a:srgbClr val="F7F4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2D23A3-5C1E-2596-48C6-781B86C3E4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4"/>
            <a:ext cx="8274613" cy="1512886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“Quote.”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8F6EDF-548C-40F3-B63E-35E5B45BF4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2765025"/>
            <a:ext cx="3918513" cy="896731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ource Name</a:t>
            </a:r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E51D527-B865-B700-5384-C1A786246B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800" y="4717794"/>
            <a:ext cx="931835" cy="129600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0AE7742-4162-63D9-ECE7-7CCF75CCD5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B699B3F-7C70-586A-CCF2-0647F1E704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70DCC8D-E0DC-4F08-4521-DFDC456D6B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969898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39A3A30-A56F-E2FB-79FE-E2C2EACB066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tIns="180000" anchor="t" anchorCtr="1">
            <a:norm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F96C22-5793-0FF1-1333-1D67A95A60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4717794"/>
            <a:ext cx="931863" cy="12858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2D23A3-5C1E-2596-48C6-781B86C3E4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4"/>
            <a:ext cx="8274613" cy="1512886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/>
              <a:t>“Quote.”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8F6EDF-548C-40F3-B63E-35E5B45BF4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2765025"/>
            <a:ext cx="3918513" cy="896731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ource Name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6C38489-AB97-3060-D572-9FD2AEE090A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CAFB21-56A2-05F0-1EE7-893E0C670C1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7307451-6A96-E1B9-2A8D-F3A3FE68041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333330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39A3A30-A56F-E2FB-79FE-E2C2EACB066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tIns="180000" anchor="t" anchorCtr="1">
            <a:norm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2D23A3-5C1E-2596-48C6-781B86C3E4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4"/>
            <a:ext cx="8274613" cy="1512886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/>
              <a:t>“Quote.”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8F6EDF-548C-40F3-B63E-35E5B45BF4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2765025"/>
            <a:ext cx="3918513" cy="896731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ource Nam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DAAEF3F-E328-7721-F648-2FF672DBB8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4717794"/>
            <a:ext cx="931863" cy="12858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7D8AFC8-F903-5D48-7CC9-B1A3345EA16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5AB6068-8461-AD2E-C05A-1F394DEC22F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42F516F-6919-7D15-55FA-06BA1A0A37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706988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ro slide_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CD033DE1-C9D1-F2F6-7B17-0FBA3B293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F008FAA6-50EB-3DE9-3A27-95D51F6DF52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1800" y="1239838"/>
            <a:ext cx="8280200" cy="327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07801E6-EF51-2725-8318-B6B617B61A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4717794"/>
            <a:ext cx="931863" cy="12858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181119D-C758-9369-D248-92C5CD96AE4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C0D0642-313E-E31B-7543-3515E3105AD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0008F28A-3951-0D91-22D0-1974A92728F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2939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ro slide_I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DDF316EA-5E27-88B1-60D7-DB80BD5885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04ACE7ED-1324-94ED-1F75-92DE73E2D18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1800" y="1239838"/>
            <a:ext cx="8280200" cy="327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A83AFBA-20D8-B042-FBA7-88F1B124E2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4717794"/>
            <a:ext cx="931863" cy="12858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368A4B-8D4B-322F-7092-09E53B59E4C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B3A794-7A2E-42D3-34CB-1A1ADBCA3E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6A04973B-97D4-2A21-42DD-CEEE3D38AC3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7552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ro slide_Graphi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735EDF26-9E77-A64C-DCD3-7A6C5D1677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DA1E8C03-B9C6-EE7E-E9B6-C38ABFC2B2F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1800" y="1239838"/>
            <a:ext cx="8280200" cy="327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DE0EC10-2EFD-D692-9D76-FA2E4A2CA5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4717794"/>
            <a:ext cx="931863" cy="12858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D18F13-C921-76DA-17F2-458B4E98EA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A3E6E6-3E34-82A3-4567-213BC4E7909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F9B3D974-2EC8-C50A-1A6A-905B3FCA36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8595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vs 1 colum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36E419C-17BE-AD5B-8270-C7760828C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42A69071-EAF2-371B-45AF-D91BB172112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67425" y="1239838"/>
            <a:ext cx="2644775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43499CA-4C96-48CB-0E23-65C850A55F0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1801" y="1239838"/>
            <a:ext cx="5454650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E3F516B-2ACE-0F0C-86DB-AFFA27054DC2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738785-29C5-511B-B330-BF0D04AE424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8741B5-C764-5AD3-6589-05D9A6F73F2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2294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only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73B5B08-F499-CEEF-6D82-9A22E374BD9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tIns="180000" anchor="t" anchorCtr="1">
            <a:norm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3F81E1F4-F80E-42A5-9678-2B47BFDCD1F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4717794"/>
            <a:ext cx="931863" cy="12858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8B3CF131-71A9-C607-2FD4-B83D3899F3F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4964504-AAD4-B1B7-2898-598DB76D90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8930FC2-B4D1-2863-011A-6FEB6FA5A8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193102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only ligh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5A6EF430-E285-D980-02EE-D5D2E56F485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tIns="180000" anchor="t" anchorCtr="1">
            <a:norm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822DC28B-52DC-A490-EBB7-87ABAA0F16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4717794"/>
            <a:ext cx="931863" cy="12858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3C82D7-2207-E591-A275-2A1C8DB5E625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E6276C2-EA74-74D0-58B7-5AED9E348F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903BAF-78F2-B993-E917-A3ECA433AF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347197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A3560DFD-FF2E-F6E5-BDE1-E6BCDD3196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948437"/>
            <a:ext cx="3918513" cy="128961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divider title</a:t>
            </a: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06B2645-26E6-4975-9387-703AA4AF49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9144000" cy="5143500"/>
          </a:xfrm>
          <a:custGeom>
            <a:avLst/>
            <a:gdLst>
              <a:gd name="connsiteX0" fmla="*/ 0 w 9144000"/>
              <a:gd name="connsiteY0" fmla="*/ 0 h 5143500"/>
              <a:gd name="connsiteX1" fmla="*/ 4787900 w 9144000"/>
              <a:gd name="connsiteY1" fmla="*/ 0 h 5143500"/>
              <a:gd name="connsiteX2" fmla="*/ 9144000 w 9144000"/>
              <a:gd name="connsiteY2" fmla="*/ 0 h 5143500"/>
              <a:gd name="connsiteX3" fmla="*/ 9144000 w 9144000"/>
              <a:gd name="connsiteY3" fmla="*/ 1058863 h 5143500"/>
              <a:gd name="connsiteX4" fmla="*/ 9144000 w 9144000"/>
              <a:gd name="connsiteY4" fmla="*/ 5143500 h 5143500"/>
              <a:gd name="connsiteX5" fmla="*/ 4787900 w 9144000"/>
              <a:gd name="connsiteY5" fmla="*/ 5143500 h 5143500"/>
              <a:gd name="connsiteX6" fmla="*/ 4787900 w 9144000"/>
              <a:gd name="connsiteY6" fmla="*/ 1058863 h 5143500"/>
              <a:gd name="connsiteX7" fmla="*/ 0 w 9144000"/>
              <a:gd name="connsiteY7" fmla="*/ 1058863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143500">
                <a:moveTo>
                  <a:pt x="0" y="0"/>
                </a:moveTo>
                <a:lnTo>
                  <a:pt x="4787900" y="0"/>
                </a:lnTo>
                <a:lnTo>
                  <a:pt x="9144000" y="0"/>
                </a:lnTo>
                <a:lnTo>
                  <a:pt x="9144000" y="1058863"/>
                </a:lnTo>
                <a:lnTo>
                  <a:pt x="9144000" y="5143500"/>
                </a:lnTo>
                <a:lnTo>
                  <a:pt x="4787900" y="5143500"/>
                </a:lnTo>
                <a:lnTo>
                  <a:pt x="4787900" y="1058863"/>
                </a:lnTo>
                <a:lnTo>
                  <a:pt x="0" y="10588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71CDD51B-73E1-76FB-FE20-5A21A4A1B9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367294"/>
            <a:ext cx="3918513" cy="896731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AE01F2-DA9B-19B2-BFCA-FE60AA769A3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929331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WallPap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856A454-D930-61C7-4877-0516E4AEC018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16690" b="-16690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DAAFC87-EB9B-8E38-1FCE-0BA94F1CBC2A}"/>
              </a:ext>
            </a:extLst>
          </p:cNvPr>
          <p:cNvSpPr/>
          <p:nvPr userDrawn="1"/>
        </p:nvSpPr>
        <p:spPr>
          <a:xfrm>
            <a:off x="0" y="1058863"/>
            <a:ext cx="4785582" cy="40846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3560DFD-FF2E-F6E5-BDE1-E6BCDD3196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948437"/>
            <a:ext cx="3918513" cy="128961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divider title</a:t>
            </a:r>
            <a:endParaRPr lang="en-US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71CDD51B-73E1-76FB-FE20-5A21A4A1B9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367294"/>
            <a:ext cx="3918513" cy="896731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70EFC67-4553-68C8-6E64-7DA0FE2BA0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800" y="4717794"/>
            <a:ext cx="931835" cy="129600"/>
          </a:xfrm>
          <a:prstGeom prst="rect">
            <a:avLst/>
          </a:prstGeom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6961C34-CBF8-2B28-0ACE-DFE9793084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994674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WallPap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074075C-D830-71D2-F4A7-2FA2FA85E00A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16690" b="-16690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DAAFC87-EB9B-8E38-1FCE-0BA94F1CBC2A}"/>
              </a:ext>
            </a:extLst>
          </p:cNvPr>
          <p:cNvSpPr/>
          <p:nvPr userDrawn="1"/>
        </p:nvSpPr>
        <p:spPr>
          <a:xfrm>
            <a:off x="0" y="1058864"/>
            <a:ext cx="4785582" cy="40846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3560DFD-FF2E-F6E5-BDE1-E6BCDD3196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948437"/>
            <a:ext cx="3918513" cy="128961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divider title</a:t>
            </a:r>
            <a:endParaRPr lang="en-US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71CDD51B-73E1-76FB-FE20-5A21A4A1B9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367294"/>
            <a:ext cx="3918513" cy="896731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297DC80-571E-6EBB-769B-52D224B0EF9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800" y="4717794"/>
            <a:ext cx="931835" cy="129600"/>
          </a:xfrm>
          <a:prstGeom prst="rect">
            <a:avLst/>
          </a:prstGeom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45AF78F-7630-01D4-06C5-777E22534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326882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WallPaper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F1D83A4-E367-5E18-1F9C-8CBC8E6299AA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16690" b="-16690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DAAFC87-EB9B-8E38-1FCE-0BA94F1CBC2A}"/>
              </a:ext>
            </a:extLst>
          </p:cNvPr>
          <p:cNvSpPr/>
          <p:nvPr userDrawn="1"/>
        </p:nvSpPr>
        <p:spPr>
          <a:xfrm>
            <a:off x="0" y="1058863"/>
            <a:ext cx="4785582" cy="40846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3560DFD-FF2E-F6E5-BDE1-E6BCDD3196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948437"/>
            <a:ext cx="3918513" cy="128961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divider title</a:t>
            </a:r>
            <a:endParaRPr lang="en-US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71CDD51B-73E1-76FB-FE20-5A21A4A1B9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367294"/>
            <a:ext cx="3918513" cy="896731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D140CF4-719D-C36B-C74F-E5084AB288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800" y="4717794"/>
            <a:ext cx="931835" cy="129600"/>
          </a:xfrm>
          <a:prstGeom prst="rect">
            <a:avLst/>
          </a:prstGeom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A9EACF3-1663-106A-5A3B-9FC283B442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868418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1419225"/>
            <a:ext cx="5454650" cy="11525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360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Add closing statement over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6833" y="2963492"/>
            <a:ext cx="4087814" cy="8807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ln>
                  <a:noFill/>
                </a:ln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subtitle style 20p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0197868-037A-41F2-B094-C3240916F3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42" y="4479725"/>
            <a:ext cx="1475916" cy="432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DA4C76E1-0FF6-1E1D-2FD6-119F1A5101B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607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484">
          <p15:clr>
            <a:srgbClr val="FBAE40"/>
          </p15:clr>
        </p15:guide>
        <p15:guide id="3" orient="horz" pos="554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DE1C54E9-58F8-C5C2-0210-221256D6D956}"/>
              </a:ext>
            </a:extLst>
          </p:cNvPr>
          <p:cNvGrpSpPr/>
          <p:nvPr userDrawn="1"/>
        </p:nvGrpSpPr>
        <p:grpSpPr>
          <a:xfrm>
            <a:off x="2316000" y="1540143"/>
            <a:ext cx="4512000" cy="2063214"/>
            <a:chOff x="2316000" y="1566570"/>
            <a:chExt cx="4512000" cy="2063214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70B1684-9852-7DF3-5730-A04105F7EA5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3942000" y="1566570"/>
              <a:ext cx="1260000" cy="1260000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00C42119-8722-3B60-2AAE-AF1121902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316000" y="3341784"/>
              <a:ext cx="4512000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11273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484">
          <p15:clr>
            <a:srgbClr val="FBAE40"/>
          </p15:clr>
        </p15:guide>
        <p15:guide id="3" orient="horz" pos="554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48747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46A4B26-CBD6-4EC3-9BB2-03D1059EC0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4140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vs 1 colum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36E419C-17BE-AD5B-8270-C7760828C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42A69071-EAF2-371B-45AF-D91BB172112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912200" y="1239838"/>
            <a:ext cx="1800000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43499CA-4C96-48CB-0E23-65C850A55F0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1800" y="1239838"/>
            <a:ext cx="6300401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E3F516B-2ACE-0F0C-86DB-AFFA27054DC2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738785-29C5-511B-B330-BF0D04AE424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8741B5-C764-5AD3-6589-05D9A6F73F2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5313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C401EA3-16A6-47D3-9D6E-A27DFE2287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7410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59E71B1-F750-4435-986C-7F9EF20560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68541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90361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and gray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18000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8A0C770-19FC-43E2-AEE2-B18B053BE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58909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9138993" cy="797661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4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tx1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Click to edit title</a:t>
            </a:r>
            <a:br>
              <a:rPr lang="en-US"/>
            </a:br>
            <a:r>
              <a:rPr lang="en-US"/>
              <a:t>max over 2 lin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4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US"/>
              <a:t>Sub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645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88000" indent="-288000">
              <a:defRPr lang="en-GB" dirty="0"/>
            </a:lvl1pPr>
          </a:lstStyle>
          <a:p>
            <a:pPr marL="285750" lvl="0" indent="-28575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414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9CF60C-F237-4C35-B5B9-DCAC15891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9DBEF-F615-45A1-AA51-C34CD01BC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3A0FA-AB68-49F8-A8DA-E9F3A2F1B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F4F1C2-2D04-4080-9FD1-F04C6A852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13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6"/>
            <a:ext cx="7991475" cy="3897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8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4B0388-7C7E-45C3-A6E3-3E637FAB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C33F9F-6CBB-499E-A399-F579A1C082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B278D-E37B-46DC-954C-589B0EF3E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26578-F514-4D23-8B3F-F3016B7CA9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770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576263" y="835025"/>
            <a:ext cx="7991475" cy="3897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FE40DE-7E7D-4146-AB2D-5551E7E74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770B-7A94-4844-AD38-CF8FB308000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74F79-D68A-45F4-B9C7-F1CCDF9519A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6A03-20E1-4E11-AF69-2080BD58C1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685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image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BB35262-E7DC-8CEA-04A4-5FD4AD8997D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7425" y="0"/>
            <a:ext cx="3076575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EF91A03-685E-A91F-E992-9F3060FEF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5454650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FD5CB3C-1FE9-F0D8-364C-C1D813C9D4E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1800" y="1239838"/>
            <a:ext cx="5454650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A3142EEC-31D5-03B8-5CCD-950A1A71223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035B9C22-6447-F2D3-3258-E69EFAE403A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E9F3593-2AF6-50A5-6BF8-306DF4FD892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5360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859338" y="835026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 baseline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1EA73AF-7637-4A6C-A4B0-311EBFC6D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264F-6D72-4F24-8CD7-BE495E8BB68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CD3D90-6931-458C-A0AF-D2BBC25C86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8558DF-C777-4C31-85A8-21E662F0A5E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68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859338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287338" indent="-287338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72E2A8-E205-4778-8440-C86A3161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4B11B-E592-4BB9-AE34-F70CB195E72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F1A4215-8A59-48E0-8F12-9F23CA6022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294D08-94E6-49A2-9DF7-398509396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044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</a:t>
            </a:r>
            <a:br>
              <a:rPr lang="en-US" noProof="0"/>
            </a:br>
            <a:r>
              <a:rPr lang="en-US" noProof="0"/>
              <a:t>or click icon to add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1301CE-B3DE-49E1-B3B2-EA2475A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3708400" cy="5048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3F7EFBD-DB9C-45C5-9F2E-C46AEC5F67D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3377E4-E0A6-4CAB-B97D-200423520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FCB58-7D88-4A1A-B1DD-02B1B052F52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809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</a:t>
            </a:r>
            <a:br>
              <a:rPr lang="en-US" noProof="0"/>
            </a:br>
            <a:r>
              <a:rPr lang="en-US" noProof="0"/>
              <a:t>or click icon to add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859338" y="835025"/>
            <a:ext cx="3681797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EE6764-BCD9-4C0F-8D7F-6DAB3E01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338" y="195263"/>
            <a:ext cx="3681797" cy="5048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0B3F087-DB20-4A94-AB80-B37ECB4779C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6D60D1-99A0-4A98-BC8E-3EF57AA9400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6BAC64-3B0D-463F-8B20-473CDA4BD82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506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946856-8546-4DA9-9A8E-E5AE5A89C49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5E8465-767D-44BA-B892-E9FA43E13D5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6D917-89B9-4999-9898-0406930D63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940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oundRect">
            <a:avLst>
              <a:gd name="adj" fmla="val 2994"/>
            </a:avLst>
          </a:prstGeom>
          <a:solidFill>
            <a:schemeClr val="accent6"/>
          </a:solidFill>
          <a:effectLst>
            <a:outerShdw blurRad="139700" dist="12700" dir="2700000" sx="101000" sy="101000" algn="t" rotWithShape="0">
              <a:srgbClr val="353535">
                <a:alpha val="41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2196000" rIns="0" bIns="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B6A0F-FAB0-4F8C-9459-30EDA083527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A77CE-E662-481F-BCC4-5E6BB30CACE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6AD45-0EAC-4DBD-8C61-C0F4ACB5360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5598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7FD35B-6C0E-42DE-85B1-6521194AA6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11B6FB-578C-4F3B-A98D-5AF9DECFC4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18D1FF-B499-48AE-A463-FCD1B03277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8227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oundRect">
            <a:avLst>
              <a:gd name="adj" fmla="val 3147"/>
            </a:avLst>
          </a:prstGeom>
          <a:solidFill>
            <a:schemeClr val="accent6"/>
          </a:solidFill>
          <a:effectLst>
            <a:outerShdw blurRad="139700" dist="12700" dir="2700000" sx="101000" sy="101000" algn="ctr" rotWithShape="0">
              <a:prstClr val="black">
                <a:alpha val="41000"/>
              </a:prstClr>
            </a:outerShdw>
          </a:effectLst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DD8DB3-C531-4BAF-94DF-B0A78EC717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44BE83-BA14-49B6-A392-4BAD50F860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0C4FF9-2E18-439F-BB75-2227EBAD58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5724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D87977-6410-4861-821B-247A28DFF4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263" y="835025"/>
            <a:ext cx="7991475" cy="3897313"/>
          </a:xfrm>
          <a:solidFill>
            <a:schemeClr val="accent6"/>
          </a:solidFill>
        </p:spPr>
        <p:txBody>
          <a:bodyPr tIns="2088000"/>
          <a:lstStyle>
            <a:lvl1pPr marL="0" indent="0" algn="ctr">
              <a:buNone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101581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/>
              <a:t>Drag movie to placeholder or click icon to ad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4227513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0863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image -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8D8DEF5-F1E0-654A-F1F4-1A3201DDAE2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84783" y="428626"/>
            <a:ext cx="2627313" cy="408781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A750EC97-798E-0CCE-656F-D590BA7C5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24597A9-C0B4-7EA4-9E06-263DA9D834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1800" y="1239838"/>
            <a:ext cx="5454650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9B89C0E1-94EA-B182-FC6B-2B31EDB4F77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EA5D0958-F709-85CC-5F28-5C37E907F1B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368C3250-B02B-099F-E9FB-3EBD124FFB6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9799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576261" y="835024"/>
            <a:ext cx="7990394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tabl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754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4533" y="2325818"/>
            <a:ext cx="2929467" cy="281768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140A6-5D0E-4488-95CA-4733486F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00B3A-B3FB-4A32-A145-4E221A43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DC275C-83AD-4E74-9F99-2A21F1C78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1171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white text - on dark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US" noProof="0"/>
              <a:t>Drag picture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FDA8F-E5DE-42B3-BE10-7B8BCDC83F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D733F-B7CE-451D-A09C-370A3D494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4006D7-7C1F-4025-93C7-D6BFDD015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8A7EB86-3F9E-4A42-81FA-F215DE6BC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</p:spTree>
    <p:extLst>
      <p:ext uri="{BB962C8B-B14F-4D97-AF65-F5344CB8AC3E}">
        <p14:creationId xmlns:p14="http://schemas.microsoft.com/office/powerpoint/2010/main" val="818678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dark text - on ligh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US"/>
              <a:t>Drag </a:t>
            </a:r>
            <a:r>
              <a:rPr lang="en-US" noProof="0"/>
              <a:t>picture</a:t>
            </a:r>
            <a:r>
              <a:rPr lang="en-US"/>
              <a:t>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5D03DB-E24A-4B52-B9D9-B3D6DF2138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D1E53-7D02-44DA-8691-6E53E6200A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AB17E-1E0B-4FA0-982D-17BEFEF877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28E9124-E359-49E6-A14A-2497E35E51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</p:spTree>
    <p:extLst>
      <p:ext uri="{BB962C8B-B14F-4D97-AF65-F5344CB8AC3E}">
        <p14:creationId xmlns:p14="http://schemas.microsoft.com/office/powerpoint/2010/main" val="2239498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26F7B-C707-4C07-B686-02CD29F0CA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944888"/>
            <a:ext cx="3708400" cy="1594378"/>
          </a:xfrm>
        </p:spPr>
        <p:txBody>
          <a:bodyPr/>
          <a:lstStyle>
            <a:lvl1pPr marL="0" indent="0">
              <a:buNone/>
              <a:tabLst/>
              <a:defRPr lang="en-US" sz="500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osing lin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330700"/>
            <a:ext cx="5112709" cy="4488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A798CCC-F599-47BC-84EE-8CAA3D2206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31719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whit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4" y="1659468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4" y="4411228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4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892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783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675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566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90461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4" y="1659468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4" y="4411228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4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892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783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675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566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46A4B26-CBD6-4EC3-9BB2-03D1059EC0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98746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orang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4" y="1659468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4" y="4411228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4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892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783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675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566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C401EA3-16A6-47D3-9D6E-A27DFE2287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6262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whit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4" y="4411228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4" y="1659468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4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892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783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675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566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59E71B1-F750-4435-986C-7F9EF20560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57934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orang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4" y="4411228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4" y="1659468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4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892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783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675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566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6061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age -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8D8DEF5-F1E0-654A-F1F4-1A3201DDAE2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1800" y="428624"/>
            <a:ext cx="2627313" cy="408781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AC5CEB81-17E2-A76F-349F-9107B9EAA5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88" y="428625"/>
            <a:ext cx="5472112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CC50047-824E-09AB-3A7B-C7116E9FF95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240088" y="1239838"/>
            <a:ext cx="5472112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D8C265C5-A8C5-FC51-48BA-FB2B527ED3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0FF7712D-A0E6-8935-0902-5685204BDFE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D6343E77-BEA8-0AAC-5BC6-880EBBD829A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2720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orange and gray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4" y="4411228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4" y="1659468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4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892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783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675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566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07763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ain titl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4" y="4411228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6264" y="1659468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4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892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783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675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566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9" y="1283679"/>
            <a:ext cx="3859822" cy="3859822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8A0C770-19FC-43E2-AEE2-B18B053BE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5362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1"/>
            <a:ext cx="9138993" cy="797661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5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tx1"/>
                </a:solidFill>
              </a:defRPr>
            </a:lvl1pPr>
            <a:lvl2pPr marL="342892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783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675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566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Click to edit title</a:t>
            </a:r>
            <a:br>
              <a:rPr lang="en-US"/>
            </a:br>
            <a:r>
              <a:rPr lang="en-US"/>
              <a:t>max over 2 lin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5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US"/>
              <a:t>Sub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112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3" y="835026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87993" indent="-287993">
              <a:defRPr lang="en-GB" dirty="0"/>
            </a:lvl1pPr>
          </a:lstStyle>
          <a:p>
            <a:pPr marL="285743" lvl="0" indent="-285743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377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6"/>
            <a:ext cx="7991475" cy="3897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800" b="0"/>
            </a:lvl1pPr>
            <a:lvl2pPr marL="360354" indent="-360354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16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61" indent="0">
              <a:lnSpc>
                <a:spcPct val="100000"/>
              </a:lnSpc>
              <a:buNone/>
              <a:tabLst/>
              <a:defRPr sz="1600" b="0"/>
            </a:lvl4pPr>
            <a:lvl5pPr marL="725470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4B0388-7C7E-45C3-A6E3-3E637FAB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C33F9F-6CBB-499E-A399-F579A1C082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B278D-E37B-46DC-954C-589B0EF3E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26578-F514-4D23-8B3F-F3016B7CA9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590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859339" y="835026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 baseline="0"/>
            </a:lvl1pPr>
            <a:lvl2pPr marL="360354" indent="-360354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16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61" indent="0">
              <a:lnSpc>
                <a:spcPct val="100000"/>
              </a:lnSpc>
              <a:buNone/>
              <a:tabLst/>
              <a:defRPr sz="1600" b="0"/>
            </a:lvl4pPr>
            <a:lvl5pPr marL="725470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54" indent="-360354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16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61" indent="0">
              <a:lnSpc>
                <a:spcPct val="100000"/>
              </a:lnSpc>
              <a:buNone/>
              <a:tabLst/>
              <a:defRPr sz="1600" b="0"/>
            </a:lvl4pPr>
            <a:lvl5pPr marL="725470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1EA73AF-7637-4A6C-A4B0-311EBFC6D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264F-6D72-4F24-8CD7-BE495E8BB68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CD3D90-6931-458C-A0AF-D2BBC25C86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8558DF-C777-4C31-85A8-21E662F0A5E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5352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bulle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4" y="835026"/>
            <a:ext cx="3708400" cy="3897313"/>
          </a:xfrm>
          <a:prstGeom prst="rect">
            <a:avLst/>
          </a:prstGeom>
        </p:spPr>
        <p:txBody>
          <a:bodyPr/>
          <a:lstStyle>
            <a:lvl1pPr marL="285743" indent="-285743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43" indent="-285743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64" indent="-174621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73" indent="-176209">
              <a:lnSpc>
                <a:spcPct val="100000"/>
              </a:lnSpc>
              <a:tabLst/>
              <a:defRPr sz="1400" b="0"/>
            </a:lvl4pPr>
            <a:lvl5pPr marL="809605" indent="-185733">
              <a:lnSpc>
                <a:spcPct val="100000"/>
              </a:lnSpc>
              <a:defRPr sz="1400" b="0"/>
            </a:lvl5pPr>
            <a:lvl6pPr marL="1714457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859339" y="835026"/>
            <a:ext cx="3708400" cy="3897313"/>
          </a:xfrm>
          <a:prstGeom prst="rect">
            <a:avLst/>
          </a:prstGeom>
        </p:spPr>
        <p:txBody>
          <a:bodyPr/>
          <a:lstStyle>
            <a:lvl1pPr marL="285743" indent="-285743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287331" indent="-287331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64" indent="-174621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73" indent="-176209">
              <a:lnSpc>
                <a:spcPct val="100000"/>
              </a:lnSpc>
              <a:tabLst/>
              <a:defRPr sz="1400" b="0"/>
            </a:lvl4pPr>
            <a:lvl5pPr marL="809605" indent="-185733">
              <a:lnSpc>
                <a:spcPct val="100000"/>
              </a:lnSpc>
              <a:defRPr sz="1400" b="0"/>
            </a:lvl5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72E2A8-E205-4778-8440-C86A3161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4B11B-E592-4BB9-AE34-F70CB195E72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F1A4215-8A59-48E0-8F12-9F23CA6022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294D08-94E6-49A2-9DF7-398509396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443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</a:t>
            </a:r>
            <a:br>
              <a:rPr lang="en-US" noProof="0"/>
            </a:br>
            <a:r>
              <a:rPr lang="en-US" noProof="0"/>
              <a:t>or click icon to add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6"/>
            <a:ext cx="370840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54" indent="-360354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16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61" indent="0">
              <a:lnSpc>
                <a:spcPct val="100000"/>
              </a:lnSpc>
              <a:buNone/>
              <a:tabLst/>
              <a:defRPr sz="1600" b="0"/>
            </a:lvl4pPr>
            <a:lvl5pPr marL="725470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1301CE-B3DE-49E1-B3B2-EA2475A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4" y="195263"/>
            <a:ext cx="3708400" cy="5048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3F7EFBD-DB9C-45C5-9F2E-C46AEC5F67D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3377E4-E0A6-4CAB-B97D-200423520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FCB58-7D88-4A1A-B1DD-02B1B052F52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4641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</a:t>
            </a:r>
            <a:br>
              <a:rPr lang="en-US" noProof="0"/>
            </a:br>
            <a:r>
              <a:rPr lang="en-US" noProof="0"/>
              <a:t>or click icon to add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859339" y="835026"/>
            <a:ext cx="3681797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54" indent="-360354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16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61" indent="0">
              <a:lnSpc>
                <a:spcPct val="100000"/>
              </a:lnSpc>
              <a:buNone/>
              <a:tabLst/>
              <a:defRPr sz="1600" b="0"/>
            </a:lvl4pPr>
            <a:lvl5pPr marL="725470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EE6764-BCD9-4C0F-8D7F-6DAB3E01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339" y="195263"/>
            <a:ext cx="3681797" cy="5048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0B3F087-DB20-4A94-AB80-B37ECB4779C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6D60D1-99A0-4A98-BC8E-3EF57AA9400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6BAC64-3B0D-463F-8B20-473CDA4BD82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83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text and image (right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6"/>
            <a:ext cx="5062402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5" y="835026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54" indent="-360354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16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61" indent="0">
              <a:lnSpc>
                <a:spcPct val="100000"/>
              </a:lnSpc>
              <a:buNone/>
              <a:tabLst/>
              <a:defRPr sz="1600" b="0"/>
            </a:lvl4pPr>
            <a:lvl5pPr marL="725470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946856-8546-4DA9-9A8E-E5AE5A89C49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5E8465-767D-44BA-B892-E9FA43E13D5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6D917-89B9-4999-9898-0406930D63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184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image - extra lar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73B5B08-F499-CEEF-6D82-9A22E374BD9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240089" y="428625"/>
            <a:ext cx="5472111" cy="4087814"/>
          </a:xfrm>
          <a:solidFill>
            <a:schemeClr val="bg1">
              <a:lumMod val="85000"/>
            </a:schemeClr>
          </a:solidFill>
        </p:spPr>
        <p:txBody>
          <a:bodyPr tIns="180000" anchor="t" anchorCtr="1">
            <a:norm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A8C2371-95DB-A5FC-F16F-AE205C86D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2627313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CC32CF2E-C3BC-9887-D9D5-B11908277EA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1800" y="1239838"/>
            <a:ext cx="2627313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CC39BBC-394F-3025-AE20-6D850FF127E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9C4EF8-986C-0F8F-1427-3C9010CAC8D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CC431A-E416-24FB-9081-8575777B0F4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742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text and image (right large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6"/>
            <a:ext cx="5062402" cy="3897313"/>
          </a:xfrm>
          <a:prstGeom prst="roundRect">
            <a:avLst>
              <a:gd name="adj" fmla="val 2994"/>
            </a:avLst>
          </a:prstGeom>
          <a:solidFill>
            <a:schemeClr val="accent6"/>
          </a:solidFill>
          <a:effectLst>
            <a:outerShdw blurRad="139700" dist="12700" dir="2700000" sx="101000" sy="101000" algn="t" rotWithShape="0">
              <a:srgbClr val="353535">
                <a:alpha val="41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2196000" rIns="0" bIns="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5" y="835026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54" indent="-360354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16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61" indent="0">
              <a:lnSpc>
                <a:spcPct val="100000"/>
              </a:lnSpc>
              <a:buNone/>
              <a:tabLst/>
              <a:defRPr sz="1600" b="0"/>
            </a:lvl4pPr>
            <a:lvl5pPr marL="725470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B6A0F-FAB0-4F8C-9459-30EDA083527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A77CE-E662-481F-BCC4-5E6BB30CACE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6AD45-0EAC-4DBD-8C61-C0F4ACB5360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1031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text and image (right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7" y="835026"/>
            <a:ext cx="3708401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4" y="835026"/>
            <a:ext cx="3708400" cy="3897313"/>
          </a:xfrm>
          <a:prstGeom prst="rect">
            <a:avLst/>
          </a:prstGeom>
        </p:spPr>
        <p:txBody>
          <a:bodyPr/>
          <a:lstStyle>
            <a:lvl1pPr marL="285743" indent="-285743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43" indent="-285743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64" indent="-174621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73" indent="-176209">
              <a:lnSpc>
                <a:spcPct val="100000"/>
              </a:lnSpc>
              <a:tabLst/>
              <a:defRPr sz="1400" b="0"/>
            </a:lvl4pPr>
            <a:lvl5pPr marL="809605" indent="-185733">
              <a:lnSpc>
                <a:spcPct val="100000"/>
              </a:lnSpc>
              <a:defRPr sz="1400" b="0"/>
            </a:lvl5pPr>
            <a:lvl6pPr marL="1714457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7FD35B-6C0E-42DE-85B1-6521194AA6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11B6FB-578C-4F3B-A98D-5AF9DECFC4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18D1FF-B499-48AE-A463-FCD1B03277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71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text and image (right small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7" y="835026"/>
            <a:ext cx="3708401" cy="3897313"/>
          </a:xfrm>
          <a:prstGeom prst="roundRect">
            <a:avLst>
              <a:gd name="adj" fmla="val 3147"/>
            </a:avLst>
          </a:prstGeom>
          <a:solidFill>
            <a:schemeClr val="accent6"/>
          </a:solidFill>
          <a:effectLst>
            <a:outerShdw blurRad="139700" dist="12700" dir="2700000" sx="101000" sy="101000" algn="ctr" rotWithShape="0">
              <a:prstClr val="black">
                <a:alpha val="41000"/>
              </a:prstClr>
            </a:outerShdw>
          </a:effectLst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4" y="835026"/>
            <a:ext cx="3708400" cy="3897313"/>
          </a:xfrm>
          <a:prstGeom prst="rect">
            <a:avLst/>
          </a:prstGeom>
        </p:spPr>
        <p:txBody>
          <a:bodyPr/>
          <a:lstStyle>
            <a:lvl1pPr marL="285743" indent="-285743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43" indent="-285743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64" indent="-174621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73" indent="-176209">
              <a:lnSpc>
                <a:spcPct val="100000"/>
              </a:lnSpc>
              <a:tabLst/>
              <a:defRPr sz="1400" b="0"/>
            </a:lvl4pPr>
            <a:lvl5pPr marL="809605" indent="-185733">
              <a:lnSpc>
                <a:spcPct val="100000"/>
              </a:lnSpc>
              <a:defRPr sz="1400" b="0"/>
            </a:lvl5pPr>
            <a:lvl6pPr marL="1714457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DD8DB3-C531-4BAF-94DF-B0A78EC717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44BE83-BA14-49B6-A392-4BAD50F860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0C4FF9-2E18-439F-BB75-2227EBAD58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570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image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D87977-6410-4861-821B-247A28DFF4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263" y="835026"/>
            <a:ext cx="7991475" cy="3897313"/>
          </a:xfrm>
          <a:solidFill>
            <a:schemeClr val="accent6"/>
          </a:solidFill>
        </p:spPr>
        <p:txBody>
          <a:bodyPr tIns="2088000"/>
          <a:lstStyle>
            <a:lvl1pPr marL="0" indent="0" algn="ctr">
              <a:buNone/>
              <a:defRPr/>
            </a:lvl1pPr>
          </a:lstStyle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693" algn="l"/>
              </a:tabLst>
              <a:defRPr/>
            </a:pPr>
            <a:r>
              <a:rPr lang="en-US" noProof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6608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693" algn="l"/>
              </a:tabLst>
              <a:defRPr/>
            </a:pPr>
            <a:r>
              <a:rPr lang="en-US" noProof="0"/>
              <a:t>Drag movie to placeholder or click icon to ad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4" y="4227514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80951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4534" y="2325819"/>
            <a:ext cx="2929467" cy="281768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396" indent="-176396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140A6-5D0E-4488-95CA-4733486F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00B3A-B3FB-4A32-A145-4E221A43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DC275C-83AD-4E74-9F99-2A21F1C78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591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(white text - on dark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US" noProof="0"/>
              <a:t>Drag picture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FDA8F-E5DE-42B3-BE10-7B8BCDC83F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D733F-B7CE-451D-A09C-370A3D494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4006D7-7C1F-4025-93C7-D6BFDD015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8A7EB86-3F9E-4A42-81FA-F215DE6BC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396" indent="-176396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</p:spTree>
    <p:extLst>
      <p:ext uri="{BB962C8B-B14F-4D97-AF65-F5344CB8AC3E}">
        <p14:creationId xmlns:p14="http://schemas.microsoft.com/office/powerpoint/2010/main" val="1649143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(dark text - on ligh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US"/>
              <a:t>Drag </a:t>
            </a:r>
            <a:r>
              <a:rPr lang="en-US" noProof="0"/>
              <a:t>picture</a:t>
            </a:r>
            <a:r>
              <a:rPr lang="en-US"/>
              <a:t>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5D03DB-E24A-4B52-B9D9-B3D6DF2138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D1E53-7D02-44DA-8691-6E53E6200A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AB17E-1E0B-4FA0-982D-17BEFEF877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28E9124-E359-49E6-A14A-2497E35E51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396" indent="-176396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</p:spTree>
    <p:extLst>
      <p:ext uri="{BB962C8B-B14F-4D97-AF65-F5344CB8AC3E}">
        <p14:creationId xmlns:p14="http://schemas.microsoft.com/office/powerpoint/2010/main" val="2653196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2822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46A4B26-CBD6-4EC3-9BB2-03D1059EC0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28096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abel Cover -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918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918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sp>
        <p:nvSpPr>
          <p:cNvPr id="2" name="Picture Placeholder 48">
            <a:extLst>
              <a:ext uri="{FF2B5EF4-FFF2-40B4-BE49-F238E27FC236}">
                <a16:creationId xmlns:a16="http://schemas.microsoft.com/office/drawing/2014/main" id="{A7551421-354E-1441-AEFF-FA5F95FCD9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935426" y="626385"/>
            <a:ext cx="3770985" cy="3709078"/>
          </a:xfrm>
          <a:custGeom>
            <a:avLst/>
            <a:gdLst>
              <a:gd name="connsiteX0" fmla="*/ 446456 w 3478814"/>
              <a:gd name="connsiteY0" fmla="*/ 2633052 h 3421704"/>
              <a:gd name="connsiteX1" fmla="*/ 3033202 w 3478814"/>
              <a:gd name="connsiteY1" fmla="*/ 2633052 h 3421704"/>
              <a:gd name="connsiteX2" fmla="*/ 3478814 w 3478814"/>
              <a:gd name="connsiteY2" fmla="*/ 3421704 h 3421704"/>
              <a:gd name="connsiteX3" fmla="*/ 0 w 3478814"/>
              <a:gd name="connsiteY3" fmla="*/ 3421704 h 3421704"/>
              <a:gd name="connsiteX4" fmla="*/ 446456 w 3478814"/>
              <a:gd name="connsiteY4" fmla="*/ 1755087 h 3421704"/>
              <a:gd name="connsiteX5" fmla="*/ 3033202 w 3478814"/>
              <a:gd name="connsiteY5" fmla="*/ 1755087 h 3421704"/>
              <a:gd name="connsiteX6" fmla="*/ 3478814 w 3478814"/>
              <a:gd name="connsiteY6" fmla="*/ 2543739 h 3421704"/>
              <a:gd name="connsiteX7" fmla="*/ 0 w 3478814"/>
              <a:gd name="connsiteY7" fmla="*/ 2543739 h 3421704"/>
              <a:gd name="connsiteX8" fmla="*/ 446456 w 3478814"/>
              <a:gd name="connsiteY8" fmla="*/ 877965 h 3421704"/>
              <a:gd name="connsiteX9" fmla="*/ 3033202 w 3478814"/>
              <a:gd name="connsiteY9" fmla="*/ 877965 h 3421704"/>
              <a:gd name="connsiteX10" fmla="*/ 3478814 w 3478814"/>
              <a:gd name="connsiteY10" fmla="*/ 1666617 h 3421704"/>
              <a:gd name="connsiteX11" fmla="*/ 0 w 3478814"/>
              <a:gd name="connsiteY11" fmla="*/ 1666617 h 3421704"/>
              <a:gd name="connsiteX12" fmla="*/ 446456 w 3478814"/>
              <a:gd name="connsiteY12" fmla="*/ 0 h 3421704"/>
              <a:gd name="connsiteX13" fmla="*/ 3033202 w 3478814"/>
              <a:gd name="connsiteY13" fmla="*/ 0 h 3421704"/>
              <a:gd name="connsiteX14" fmla="*/ 3478814 w 3478814"/>
              <a:gd name="connsiteY14" fmla="*/ 788652 h 3421704"/>
              <a:gd name="connsiteX15" fmla="*/ 0 w 3478814"/>
              <a:gd name="connsiteY15" fmla="*/ 788652 h 3421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78814" h="3421704">
                <a:moveTo>
                  <a:pt x="446456" y="2633052"/>
                </a:moveTo>
                <a:lnTo>
                  <a:pt x="3033202" y="2633052"/>
                </a:lnTo>
                <a:lnTo>
                  <a:pt x="3478814" y="3421704"/>
                </a:lnTo>
                <a:lnTo>
                  <a:pt x="0" y="3421704"/>
                </a:lnTo>
                <a:close/>
                <a:moveTo>
                  <a:pt x="446456" y="1755087"/>
                </a:moveTo>
                <a:lnTo>
                  <a:pt x="3033202" y="1755087"/>
                </a:lnTo>
                <a:lnTo>
                  <a:pt x="3478814" y="2543739"/>
                </a:lnTo>
                <a:lnTo>
                  <a:pt x="0" y="2543739"/>
                </a:lnTo>
                <a:close/>
                <a:moveTo>
                  <a:pt x="446456" y="877965"/>
                </a:moveTo>
                <a:lnTo>
                  <a:pt x="3033202" y="877965"/>
                </a:lnTo>
                <a:lnTo>
                  <a:pt x="3478814" y="1666617"/>
                </a:lnTo>
                <a:lnTo>
                  <a:pt x="0" y="1666617"/>
                </a:lnTo>
                <a:close/>
                <a:moveTo>
                  <a:pt x="446456" y="0"/>
                </a:moveTo>
                <a:lnTo>
                  <a:pt x="3033202" y="0"/>
                </a:lnTo>
                <a:lnTo>
                  <a:pt x="3478814" y="788652"/>
                </a:lnTo>
                <a:lnTo>
                  <a:pt x="0" y="78865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algn="ctr"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ED9150D-1613-F146-E32A-0CB05393DF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  <p:pic>
        <p:nvPicPr>
          <p:cNvPr id="4" name="Graphic 25">
            <a:extLst>
              <a:ext uri="{FF2B5EF4-FFF2-40B4-BE49-F238E27FC236}">
                <a16:creationId xmlns:a16="http://schemas.microsoft.com/office/drawing/2014/main" id="{B2D1A320-0696-ECEC-2D41-63A6520A515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4975" y="4483099"/>
            <a:ext cx="1425722" cy="469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190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4" userDrawn="1">
          <p15:clr>
            <a:srgbClr val="F26B43"/>
          </p15:clr>
        </p15:guide>
        <p15:guide id="3" orient="horz" pos="270" userDrawn="1">
          <p15:clr>
            <a:srgbClr val="547EBF"/>
          </p15:clr>
        </p15:guide>
        <p15:guide id="4" pos="272" userDrawn="1">
          <p15:clr>
            <a:srgbClr val="547EBF"/>
          </p15:clr>
        </p15:guide>
        <p15:guide id="5" orient="horz" pos="518" userDrawn="1">
          <p15:clr>
            <a:srgbClr val="547EBF"/>
          </p15:clr>
        </p15:guide>
        <p15:guide id="6" orient="horz" pos="2822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09ECE5E-5953-C51A-A944-AFD82EE603F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240088" y="430212"/>
            <a:ext cx="5472112" cy="408622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10A3DBE-718E-46DD-01BD-968AF8BC1C2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1800" y="1239838"/>
            <a:ext cx="2627313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D21D6468-B655-C8C3-928E-09FE78A483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2627313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50313728-DF53-AECA-6F9B-733F13A582D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9E795482-8D98-C471-8860-9030371DF24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43AD9BC-16F2-A54C-21EC-550EAA71F2F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0912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C401EA3-16A6-47D3-9D6E-A27DFE2287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76085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59E71B1-F750-4435-986C-7F9EF20560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4975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35134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and gray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92436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8A0C770-19FC-43E2-AEE2-B18B053BE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78153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9138993" cy="797661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4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tx1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Click to edit title</a:t>
            </a:r>
            <a:br>
              <a:rPr lang="en-US"/>
            </a:br>
            <a:r>
              <a:rPr lang="en-US"/>
              <a:t>max over 2 lin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4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US"/>
              <a:t>Sub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364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88000" indent="-288000">
              <a:defRPr lang="en-GB" dirty="0"/>
            </a:lvl1pPr>
          </a:lstStyle>
          <a:p>
            <a:pPr marL="285750" lvl="0" indent="-28575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348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9CF60C-F237-4C35-B5B9-DCAC15891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9DBEF-F615-45A1-AA51-C34CD01BC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3A0FA-AB68-49F8-A8DA-E9F3A2F1B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F4F1C2-2D04-4080-9FD1-F04C6A852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75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6"/>
            <a:ext cx="7991475" cy="3897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8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4B0388-7C7E-45C3-A6E3-3E637FAB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C33F9F-6CBB-499E-A399-F579A1C082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B278D-E37B-46DC-954C-589B0EF3E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26578-F514-4D23-8B3F-F3016B7CA9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1031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576263" y="835025"/>
            <a:ext cx="7991475" cy="3897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FE40DE-7E7D-4146-AB2D-5551E7E74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770B-7A94-4844-AD38-CF8FB308000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74F79-D68A-45F4-B9C7-F1CCDF9519A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6A03-20E1-4E11-AF69-2080BD58C1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821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Information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D9FE8A-9E17-6752-19CF-8AE3064712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4051300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2756C61-4B2E-3294-86A7-AC5D31BCF86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800" y="1239838"/>
            <a:ext cx="4051300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13B6BDA0-EAC4-4EBF-6B51-53817562ECA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660900" y="428624"/>
            <a:ext cx="4051300" cy="408781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91C55DC-AC33-2AA4-E244-53F3A9E330A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68FC04D8-6C07-234C-DDA0-50FB2590157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FE29179E-18DA-45B0-D48D-DF3ABFC4B74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2896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859338" y="835026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 baseline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1EA73AF-7637-4A6C-A4B0-311EBFC6D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264F-6D72-4F24-8CD7-BE495E8BB68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CD3D90-6931-458C-A0AF-D2BBC25C86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8558DF-C777-4C31-85A8-21E662F0A5E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153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859338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287338" indent="-287338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72E2A8-E205-4778-8440-C86A3161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4B11B-E592-4BB9-AE34-F70CB195E72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F1A4215-8A59-48E0-8F12-9F23CA6022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294D08-94E6-49A2-9DF7-398509396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141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</a:t>
            </a:r>
            <a:br>
              <a:rPr lang="en-US" noProof="0"/>
            </a:br>
            <a:r>
              <a:rPr lang="en-US" noProof="0"/>
              <a:t>or click icon to add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1301CE-B3DE-49E1-B3B2-EA2475A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3708400" cy="5048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3F7EFBD-DB9C-45C5-9F2E-C46AEC5F67D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3377E4-E0A6-4CAB-B97D-200423520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FCB58-7D88-4A1A-B1DD-02B1B052F52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07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</a:t>
            </a:r>
            <a:br>
              <a:rPr lang="en-US" noProof="0"/>
            </a:br>
            <a:r>
              <a:rPr lang="en-US" noProof="0"/>
              <a:t>or click icon to add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859338" y="835025"/>
            <a:ext cx="3681797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EE6764-BCD9-4C0F-8D7F-6DAB3E01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338" y="195263"/>
            <a:ext cx="3681797" cy="5048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0B3F087-DB20-4A94-AB80-B37ECB4779C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6D60D1-99A0-4A98-BC8E-3EF57AA9400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6BAC64-3B0D-463F-8B20-473CDA4BD82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998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946856-8546-4DA9-9A8E-E5AE5A89C49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5E8465-767D-44BA-B892-E9FA43E13D5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6D917-89B9-4999-9898-0406930D63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257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oundRect">
            <a:avLst>
              <a:gd name="adj" fmla="val 2994"/>
            </a:avLst>
          </a:prstGeom>
          <a:solidFill>
            <a:schemeClr val="accent6"/>
          </a:solidFill>
          <a:effectLst>
            <a:outerShdw blurRad="139700" dist="12700" dir="2700000" sx="101000" sy="101000" algn="t" rotWithShape="0">
              <a:srgbClr val="353535">
                <a:alpha val="41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2196000" rIns="0" bIns="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B6A0F-FAB0-4F8C-9459-30EDA083527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A77CE-E662-481F-BCC4-5E6BB30CACE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6AD45-0EAC-4DBD-8C61-C0F4ACB5360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3397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7FD35B-6C0E-42DE-85B1-6521194AA6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11B6FB-578C-4F3B-A98D-5AF9DECFC4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18D1FF-B499-48AE-A463-FCD1B03277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570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oundRect">
            <a:avLst>
              <a:gd name="adj" fmla="val 3147"/>
            </a:avLst>
          </a:prstGeom>
          <a:solidFill>
            <a:schemeClr val="accent6"/>
          </a:solidFill>
          <a:effectLst>
            <a:outerShdw blurRad="139700" dist="12700" dir="2700000" sx="101000" sy="101000" algn="ctr" rotWithShape="0">
              <a:prstClr val="black">
                <a:alpha val="41000"/>
              </a:prstClr>
            </a:outerShdw>
          </a:effectLst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DD8DB3-C531-4BAF-94DF-B0A78EC717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44BE83-BA14-49B6-A392-4BAD50F860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0C4FF9-2E18-439F-BB75-2227EBAD58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108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D87977-6410-4861-821B-247A28DFF4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263" y="835025"/>
            <a:ext cx="7991475" cy="3897313"/>
          </a:xfrm>
          <a:solidFill>
            <a:schemeClr val="accent6"/>
          </a:solidFill>
        </p:spPr>
        <p:txBody>
          <a:bodyPr tIns="2088000"/>
          <a:lstStyle>
            <a:lvl1pPr marL="0" indent="0" algn="ctr">
              <a:buNone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762075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/>
              <a:t>Drag movie to placeholder or click icon to ad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4227513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7155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One Speak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9E93CBA7-2AB7-4088-D21F-9E3972EBDD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CF152DA-058C-054C-07DB-EE09BACC6C7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12523" y="463215"/>
            <a:ext cx="3027600" cy="40428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B364C33-A413-514B-F605-A7357766877F}"/>
              </a:ext>
            </a:extLst>
          </p:cNvPr>
          <p:cNvSpPr>
            <a:spLocks noGrp="1"/>
          </p:cNvSpPr>
          <p:nvPr>
            <p:ph type="body" sz="half" idx="15" hasCustomPrompt="1"/>
          </p:nvPr>
        </p:nvSpPr>
        <p:spPr>
          <a:xfrm>
            <a:off x="431800" y="3090440"/>
            <a:ext cx="2628000" cy="142599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 b="0">
                <a:solidFill>
                  <a:schemeClr val="bg1"/>
                </a:solidFill>
              </a:defRPr>
            </a:lvl2pPr>
            <a:lvl3pPr marL="0" indent="0">
              <a:spcAft>
                <a:spcPts val="120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None/>
              <a:defRPr sz="1100">
                <a:solidFill>
                  <a:schemeClr val="bg1"/>
                </a:solidFill>
              </a:defRPr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6AD11AB-D473-6C67-57B3-FF5B6FFF1C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239838"/>
            <a:ext cx="2627113" cy="16079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C58CEB-295F-D247-0101-C871FB7E65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11163"/>
            <a:ext cx="4051100" cy="647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AC8C52B6-FF52-78EC-3370-6EA5EA221F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4717794"/>
            <a:ext cx="931863" cy="128588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79CE7D-266F-175A-F041-E50AD7CB7B9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9BE6BA8-F680-BC9C-E465-2733A6260E3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1C6DDD-3AF4-3F82-A267-CF6E338A602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2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576261" y="835024"/>
            <a:ext cx="7990394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tabl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1869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4533" y="2325818"/>
            <a:ext cx="2929467" cy="281768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140A6-5D0E-4488-95CA-4733486F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00B3A-B3FB-4A32-A145-4E221A43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DC275C-83AD-4E74-9F99-2A21F1C78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823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white text - on dark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US" noProof="0"/>
              <a:t>Drag picture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FDA8F-E5DE-42B3-BE10-7B8BCDC83F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D733F-B7CE-451D-A09C-370A3D494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4006D7-7C1F-4025-93C7-D6BFDD015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8A7EB86-3F9E-4A42-81FA-F215DE6BC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</p:spTree>
    <p:extLst>
      <p:ext uri="{BB962C8B-B14F-4D97-AF65-F5344CB8AC3E}">
        <p14:creationId xmlns:p14="http://schemas.microsoft.com/office/powerpoint/2010/main" val="402485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dark text - on ligh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US"/>
              <a:t>Drag </a:t>
            </a:r>
            <a:r>
              <a:rPr lang="en-US" noProof="0"/>
              <a:t>picture</a:t>
            </a:r>
            <a:r>
              <a:rPr lang="en-US"/>
              <a:t>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5D03DB-E24A-4B52-B9D9-B3D6DF2138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D1E53-7D02-44DA-8691-6E53E6200A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AB17E-1E0B-4FA0-982D-17BEFEF877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28E9124-E359-49E6-A14A-2497E35E51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</p:spTree>
    <p:extLst>
      <p:ext uri="{BB962C8B-B14F-4D97-AF65-F5344CB8AC3E}">
        <p14:creationId xmlns:p14="http://schemas.microsoft.com/office/powerpoint/2010/main" val="849336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26F7B-C707-4C07-B686-02CD29F0CA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944888"/>
            <a:ext cx="3708400" cy="1594378"/>
          </a:xfrm>
        </p:spPr>
        <p:txBody>
          <a:bodyPr/>
          <a:lstStyle>
            <a:lvl1pPr marL="0" indent="0">
              <a:buNone/>
              <a:tabLst/>
              <a:defRPr lang="en-US" sz="500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osing lin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330700"/>
            <a:ext cx="5112709" cy="4488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A798CCC-F599-47BC-84EE-8CAA3D2206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83179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whit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4" y="1659468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4" y="4411228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4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892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783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675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566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47439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>
          <p15:clr>
            <a:srgbClr val="FBAE4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4" y="1659468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4" y="4411228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4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892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783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675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566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46A4B26-CBD6-4EC3-9BB2-03D1059EC0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5066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orang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4" y="1659468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4" y="4411228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4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892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783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675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566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C401EA3-16A6-47D3-9D6E-A27DFE2287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03735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whit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4" y="4411228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4" y="1659468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4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892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783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675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566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59E71B1-F750-4435-986C-7F9EF20560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30032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orang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4" y="4411228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4" y="1659468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4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892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783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675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566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96291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One Speaker Grap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50B8364-FFC6-CA73-8368-A499D783F9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CF152DA-058C-054C-07DB-EE09BACC6C7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12523" y="463215"/>
            <a:ext cx="3027600" cy="40428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B364C33-A413-514B-F605-A7357766877F}"/>
              </a:ext>
            </a:extLst>
          </p:cNvPr>
          <p:cNvSpPr>
            <a:spLocks noGrp="1"/>
          </p:cNvSpPr>
          <p:nvPr>
            <p:ph type="body" sz="half" idx="15" hasCustomPrompt="1"/>
          </p:nvPr>
        </p:nvSpPr>
        <p:spPr>
          <a:xfrm>
            <a:off x="431800" y="3090440"/>
            <a:ext cx="2628000" cy="142599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 b="0">
                <a:solidFill>
                  <a:schemeClr val="bg1"/>
                </a:solidFill>
              </a:defRPr>
            </a:lvl2pPr>
            <a:lvl3pPr marL="0" indent="0">
              <a:spcAft>
                <a:spcPts val="120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None/>
              <a:defRPr sz="1100">
                <a:solidFill>
                  <a:schemeClr val="bg1"/>
                </a:solidFill>
              </a:defRPr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6AD11AB-D473-6C67-57B3-FF5B6FFF1C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239838"/>
            <a:ext cx="2627113" cy="16079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3122524-CBD6-B34E-F711-00A450DCC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11163"/>
            <a:ext cx="4051100" cy="647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42103A1-C19B-4710-BF23-05B8E8E95A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4717794"/>
            <a:ext cx="931863" cy="128588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2614AF4-3592-861D-97B8-EE9E3C7DED6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07A4CF8-F77D-D771-5286-A766FA670BB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AC8B51C-9E9B-5ED5-1F72-83172617D20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8012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orange and gray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4" y="4411228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4" y="1659468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4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892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783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675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566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09490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ain titl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4" y="4411228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6264" y="1659468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4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892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783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675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566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9" y="1283679"/>
            <a:ext cx="3859822" cy="3859822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8A0C770-19FC-43E2-AEE2-B18B053BE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3829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1"/>
            <a:ext cx="9138993" cy="797661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5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tx1"/>
                </a:solidFill>
              </a:defRPr>
            </a:lvl1pPr>
            <a:lvl2pPr marL="342892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783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675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566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Click to edit title</a:t>
            </a:r>
            <a:br>
              <a:rPr lang="en-US"/>
            </a:br>
            <a:r>
              <a:rPr lang="en-US"/>
              <a:t>max over 2 lin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5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US"/>
              <a:t>Sub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15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3" y="835026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87993" indent="-287993">
              <a:defRPr lang="en-GB" dirty="0"/>
            </a:lvl1pPr>
          </a:lstStyle>
          <a:p>
            <a:pPr marL="285743" lvl="0" indent="-285743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9735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6"/>
            <a:ext cx="7991475" cy="3897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800" b="0"/>
            </a:lvl1pPr>
            <a:lvl2pPr marL="360354" indent="-360354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16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61" indent="0">
              <a:lnSpc>
                <a:spcPct val="100000"/>
              </a:lnSpc>
              <a:buNone/>
              <a:tabLst/>
              <a:defRPr sz="1600" b="0"/>
            </a:lvl4pPr>
            <a:lvl5pPr marL="725470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4B0388-7C7E-45C3-A6E3-3E637FAB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C33F9F-6CBB-499E-A399-F579A1C082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B278D-E37B-46DC-954C-589B0EF3E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26578-F514-4D23-8B3F-F3016B7CA9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361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859339" y="835026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 baseline="0"/>
            </a:lvl1pPr>
            <a:lvl2pPr marL="360354" indent="-360354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16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61" indent="0">
              <a:lnSpc>
                <a:spcPct val="100000"/>
              </a:lnSpc>
              <a:buNone/>
              <a:tabLst/>
              <a:defRPr sz="1600" b="0"/>
            </a:lvl4pPr>
            <a:lvl5pPr marL="725470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54" indent="-360354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16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61" indent="0">
              <a:lnSpc>
                <a:spcPct val="100000"/>
              </a:lnSpc>
              <a:buNone/>
              <a:tabLst/>
              <a:defRPr sz="1600" b="0"/>
            </a:lvl4pPr>
            <a:lvl5pPr marL="725470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1EA73AF-7637-4A6C-A4B0-311EBFC6D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264F-6D72-4F24-8CD7-BE495E8BB68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CD3D90-6931-458C-A0AF-D2BBC25C86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8558DF-C777-4C31-85A8-21E662F0A5E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434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bulle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4" y="835026"/>
            <a:ext cx="3708400" cy="3897313"/>
          </a:xfrm>
          <a:prstGeom prst="rect">
            <a:avLst/>
          </a:prstGeom>
        </p:spPr>
        <p:txBody>
          <a:bodyPr/>
          <a:lstStyle>
            <a:lvl1pPr marL="285743" indent="-285743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43" indent="-285743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64" indent="-174621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73" indent="-176209">
              <a:lnSpc>
                <a:spcPct val="100000"/>
              </a:lnSpc>
              <a:tabLst/>
              <a:defRPr sz="1400" b="0"/>
            </a:lvl4pPr>
            <a:lvl5pPr marL="809605" indent="-185733">
              <a:lnSpc>
                <a:spcPct val="100000"/>
              </a:lnSpc>
              <a:defRPr sz="1400" b="0"/>
            </a:lvl5pPr>
            <a:lvl6pPr marL="1714457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859339" y="835026"/>
            <a:ext cx="3708400" cy="3897313"/>
          </a:xfrm>
          <a:prstGeom prst="rect">
            <a:avLst/>
          </a:prstGeom>
        </p:spPr>
        <p:txBody>
          <a:bodyPr/>
          <a:lstStyle>
            <a:lvl1pPr marL="285743" indent="-285743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287331" indent="-287331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64" indent="-174621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73" indent="-176209">
              <a:lnSpc>
                <a:spcPct val="100000"/>
              </a:lnSpc>
              <a:tabLst/>
              <a:defRPr sz="1400" b="0"/>
            </a:lvl4pPr>
            <a:lvl5pPr marL="809605" indent="-185733">
              <a:lnSpc>
                <a:spcPct val="100000"/>
              </a:lnSpc>
              <a:defRPr sz="1400" b="0"/>
            </a:lvl5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72E2A8-E205-4778-8440-C86A3161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4B11B-E592-4BB9-AE34-F70CB195E72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F1A4215-8A59-48E0-8F12-9F23CA6022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294D08-94E6-49A2-9DF7-398509396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6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</a:t>
            </a:r>
            <a:br>
              <a:rPr lang="en-US" noProof="0"/>
            </a:br>
            <a:r>
              <a:rPr lang="en-US" noProof="0"/>
              <a:t>or click icon to add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6"/>
            <a:ext cx="370840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54" indent="-360354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16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61" indent="0">
              <a:lnSpc>
                <a:spcPct val="100000"/>
              </a:lnSpc>
              <a:buNone/>
              <a:tabLst/>
              <a:defRPr sz="1600" b="0"/>
            </a:lvl4pPr>
            <a:lvl5pPr marL="725470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1301CE-B3DE-49E1-B3B2-EA2475A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4" y="195263"/>
            <a:ext cx="3708400" cy="5048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3F7EFBD-DB9C-45C5-9F2E-C46AEC5F67D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3377E4-E0A6-4CAB-B97D-200423520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FCB58-7D88-4A1A-B1DD-02B1B052F52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420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</a:t>
            </a:r>
            <a:br>
              <a:rPr lang="en-US" noProof="0"/>
            </a:br>
            <a:r>
              <a:rPr lang="en-US" noProof="0"/>
              <a:t>or click icon to add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859339" y="835026"/>
            <a:ext cx="3681797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54" indent="-360354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16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61" indent="0">
              <a:lnSpc>
                <a:spcPct val="100000"/>
              </a:lnSpc>
              <a:buNone/>
              <a:tabLst/>
              <a:defRPr sz="1600" b="0"/>
            </a:lvl4pPr>
            <a:lvl5pPr marL="725470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EE6764-BCD9-4C0F-8D7F-6DAB3E01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339" y="195263"/>
            <a:ext cx="3681797" cy="5048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0B3F087-DB20-4A94-AB80-B37ECB4779C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6D60D1-99A0-4A98-BC8E-3EF57AA9400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6BAC64-3B0D-463F-8B20-473CDA4BD82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6867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text and image (right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6"/>
            <a:ext cx="5062402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5" y="835026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54" indent="-360354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16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61" indent="0">
              <a:lnSpc>
                <a:spcPct val="100000"/>
              </a:lnSpc>
              <a:buNone/>
              <a:tabLst/>
              <a:defRPr sz="1600" b="0"/>
            </a:lvl4pPr>
            <a:lvl5pPr marL="725470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946856-8546-4DA9-9A8E-E5AE5A89C49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5E8465-767D-44BA-B892-E9FA43E13D5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6D917-89B9-4999-9898-0406930D63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7505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One Speaker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25D3D1B-E3D3-AB1B-D143-10AF747C55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CF152DA-058C-054C-07DB-EE09BACC6C7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12523" y="463215"/>
            <a:ext cx="3027600" cy="40428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B364C33-A413-514B-F605-A7357766877F}"/>
              </a:ext>
            </a:extLst>
          </p:cNvPr>
          <p:cNvSpPr>
            <a:spLocks noGrp="1"/>
          </p:cNvSpPr>
          <p:nvPr>
            <p:ph type="body" sz="half" idx="15" hasCustomPrompt="1"/>
          </p:nvPr>
        </p:nvSpPr>
        <p:spPr>
          <a:xfrm>
            <a:off x="431800" y="3090440"/>
            <a:ext cx="2628000" cy="142599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 b="0">
                <a:solidFill>
                  <a:schemeClr val="bg1"/>
                </a:solidFill>
              </a:defRPr>
            </a:lvl2pPr>
            <a:lvl3pPr marL="0" indent="0">
              <a:spcAft>
                <a:spcPts val="120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None/>
              <a:defRPr sz="1100">
                <a:solidFill>
                  <a:schemeClr val="bg1"/>
                </a:solidFill>
              </a:defRPr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6AD11AB-D473-6C67-57B3-FF5B6FFF1C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239838"/>
            <a:ext cx="2627113" cy="16079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CB2935-FAD1-1791-D5B8-44B3A222C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11163"/>
            <a:ext cx="4051100" cy="647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ACDC90DA-242A-7E08-23F5-78BEC3FA94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4717794"/>
            <a:ext cx="931863" cy="128588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FBD1974-02AE-680E-A038-2C5F9C804B9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FD34A61-54A2-00C2-E7EC-DBA984C8D76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7D1CFED-4A28-21C9-319E-8E08AD661A2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9921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text and image (right large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6"/>
            <a:ext cx="5062402" cy="3897313"/>
          </a:xfrm>
          <a:prstGeom prst="roundRect">
            <a:avLst>
              <a:gd name="adj" fmla="val 2994"/>
            </a:avLst>
          </a:prstGeom>
          <a:solidFill>
            <a:schemeClr val="accent6"/>
          </a:solidFill>
          <a:effectLst>
            <a:outerShdw blurRad="139700" dist="12700" dir="2700000" sx="101000" sy="101000" algn="t" rotWithShape="0">
              <a:srgbClr val="353535">
                <a:alpha val="41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2196000" rIns="0" bIns="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5" y="835026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54" indent="-360354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16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61" indent="0">
              <a:lnSpc>
                <a:spcPct val="100000"/>
              </a:lnSpc>
              <a:buNone/>
              <a:tabLst/>
              <a:defRPr sz="1600" b="0"/>
            </a:lvl4pPr>
            <a:lvl5pPr marL="725470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B6A0F-FAB0-4F8C-9459-30EDA083527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A77CE-E662-481F-BCC4-5E6BB30CACE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6AD45-0EAC-4DBD-8C61-C0F4ACB5360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5147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text and image (right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7" y="835026"/>
            <a:ext cx="3708401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4" y="835026"/>
            <a:ext cx="3708400" cy="3897313"/>
          </a:xfrm>
          <a:prstGeom prst="rect">
            <a:avLst/>
          </a:prstGeom>
        </p:spPr>
        <p:txBody>
          <a:bodyPr/>
          <a:lstStyle>
            <a:lvl1pPr marL="285743" indent="-285743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43" indent="-285743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64" indent="-174621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73" indent="-176209">
              <a:lnSpc>
                <a:spcPct val="100000"/>
              </a:lnSpc>
              <a:tabLst/>
              <a:defRPr sz="1400" b="0"/>
            </a:lvl4pPr>
            <a:lvl5pPr marL="809605" indent="-185733">
              <a:lnSpc>
                <a:spcPct val="100000"/>
              </a:lnSpc>
              <a:defRPr sz="1400" b="0"/>
            </a:lvl5pPr>
            <a:lvl6pPr marL="1714457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7FD35B-6C0E-42DE-85B1-6521194AA6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11B6FB-578C-4F3B-A98D-5AF9DECFC4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18D1FF-B499-48AE-A463-FCD1B03277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701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text and image (right small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7" y="835026"/>
            <a:ext cx="3708401" cy="3897313"/>
          </a:xfrm>
          <a:prstGeom prst="roundRect">
            <a:avLst>
              <a:gd name="adj" fmla="val 3147"/>
            </a:avLst>
          </a:prstGeom>
          <a:solidFill>
            <a:schemeClr val="accent6"/>
          </a:solidFill>
          <a:effectLst>
            <a:outerShdw blurRad="139700" dist="12700" dir="2700000" sx="101000" sy="101000" algn="ctr" rotWithShape="0">
              <a:prstClr val="black">
                <a:alpha val="41000"/>
              </a:prstClr>
            </a:outerShdw>
          </a:effectLst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4" y="835026"/>
            <a:ext cx="3708400" cy="3897313"/>
          </a:xfrm>
          <a:prstGeom prst="rect">
            <a:avLst/>
          </a:prstGeom>
        </p:spPr>
        <p:txBody>
          <a:bodyPr/>
          <a:lstStyle>
            <a:lvl1pPr marL="285743" indent="-285743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43" indent="-285743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64" indent="-174621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73" indent="-176209">
              <a:lnSpc>
                <a:spcPct val="100000"/>
              </a:lnSpc>
              <a:tabLst/>
              <a:defRPr sz="1400" b="0"/>
            </a:lvl4pPr>
            <a:lvl5pPr marL="809605" indent="-185733">
              <a:lnSpc>
                <a:spcPct val="100000"/>
              </a:lnSpc>
              <a:defRPr sz="1400" b="0"/>
            </a:lvl5pPr>
            <a:lvl6pPr marL="1714457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DD8DB3-C531-4BAF-94DF-B0A78EC717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44BE83-BA14-49B6-A392-4BAD50F860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0C4FF9-2E18-439F-BB75-2227EBAD58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038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image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D87977-6410-4861-821B-247A28DFF4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263" y="835026"/>
            <a:ext cx="7991475" cy="3897313"/>
          </a:xfrm>
          <a:solidFill>
            <a:schemeClr val="accent6"/>
          </a:solidFill>
        </p:spPr>
        <p:txBody>
          <a:bodyPr tIns="2088000"/>
          <a:lstStyle>
            <a:lvl1pPr marL="0" indent="0" algn="ctr">
              <a:buNone/>
              <a:defRPr/>
            </a:lvl1pPr>
          </a:lstStyle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693" algn="l"/>
              </a:tabLst>
              <a:defRPr/>
            </a:pPr>
            <a:r>
              <a:rPr lang="en-US" noProof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101877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693" algn="l"/>
              </a:tabLst>
              <a:defRPr/>
            </a:pPr>
            <a:r>
              <a:rPr lang="en-US" noProof="0"/>
              <a:t>Drag movie to placeholder or click icon to ad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4" y="4227514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5178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>
          <p15:clr>
            <a:srgbClr val="FBAE40"/>
          </p15:clr>
        </p15:guide>
      </p15:sldGuideLst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4534" y="2325819"/>
            <a:ext cx="2929467" cy="281768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396" indent="-176396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140A6-5D0E-4488-95CA-4733486F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00B3A-B3FB-4A32-A145-4E221A43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DC275C-83AD-4E74-9F99-2A21F1C78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345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(white text - on dark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US" noProof="0"/>
              <a:t>Drag picture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FDA8F-E5DE-42B3-BE10-7B8BCDC83F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D733F-B7CE-451D-A09C-370A3D494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4006D7-7C1F-4025-93C7-D6BFDD015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8A7EB86-3F9E-4A42-81FA-F215DE6BC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396" indent="-176396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</p:spTree>
    <p:extLst>
      <p:ext uri="{BB962C8B-B14F-4D97-AF65-F5344CB8AC3E}">
        <p14:creationId xmlns:p14="http://schemas.microsoft.com/office/powerpoint/2010/main" val="444107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(dark text - on ligh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US"/>
              <a:t>Drag </a:t>
            </a:r>
            <a:r>
              <a:rPr lang="en-US" noProof="0"/>
              <a:t>picture</a:t>
            </a:r>
            <a:r>
              <a:rPr lang="en-US"/>
              <a:t>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5D03DB-E24A-4B52-B9D9-B3D6DF2138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D1E53-7D02-44DA-8691-6E53E6200A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AB17E-1E0B-4FA0-982D-17BEFEF877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28E9124-E359-49E6-A14A-2497E35E51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396" indent="-176396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</p:spTree>
    <p:extLst>
      <p:ext uri="{BB962C8B-B14F-4D97-AF65-F5344CB8AC3E}">
        <p14:creationId xmlns:p14="http://schemas.microsoft.com/office/powerpoint/2010/main" val="3193736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F6EE3B-7D8E-0363-F5FB-DD3DFFF38B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E88934-5795-4A0E-A227-10BEBF7F88C5}" type="datetimeFigureOut">
              <a:rPr lang="en-GB" smtClean="0"/>
              <a:t>30/01/2026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2B2CCB-A25B-56CB-B680-8F97B4C194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B1A600-9DED-728C-6F45-DD26D7B921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E0B489-11CF-418F-A19B-FB0D452B094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633128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2548A-D909-62D2-1808-D56C27A9C8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E18086-6EEA-05B7-A2AD-115A77FACF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FA4302-B0CE-9F4C-25E6-B30E8E2F77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9C714-A3B7-4023-8381-69512EC7C371}" type="datetimeFigureOut">
              <a:rPr lang="en-IN" smtClean="0"/>
              <a:t>30-01-2026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543D29-9B0E-F7B1-F254-32C4DBC52D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C990C1-26F8-81DD-9168-956AEB0AE1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0508D1-3949-458E-9C8D-AC01197E59E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600229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heading only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5166038-EB60-1A49-6801-6DA719F29B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402" y="1599406"/>
            <a:ext cx="4051300" cy="1944688"/>
          </a:xfrm>
        </p:spPr>
        <p:txBody>
          <a:bodyPr anchor="ctr"/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" name="Picture Placeholder 29">
            <a:extLst>
              <a:ext uri="{FF2B5EF4-FFF2-40B4-BE49-F238E27FC236}">
                <a16:creationId xmlns:a16="http://schemas.microsoft.com/office/drawing/2014/main" id="{32382752-6AAC-4C49-57BC-B5DC63F6788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657421" y="-724432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7" name="Picture Placeholder 29">
            <a:extLst>
              <a:ext uri="{FF2B5EF4-FFF2-40B4-BE49-F238E27FC236}">
                <a16:creationId xmlns:a16="http://schemas.microsoft.com/office/drawing/2014/main" id="{5F8681D4-5943-149A-AB68-476E4D76F83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003715" y="-295807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8" name="Picture Placeholder 29">
            <a:extLst>
              <a:ext uri="{FF2B5EF4-FFF2-40B4-BE49-F238E27FC236}">
                <a16:creationId xmlns:a16="http://schemas.microsoft.com/office/drawing/2014/main" id="{379CE92C-4017-4178-B601-ADE20527D2F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350009" y="132818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9" name="Picture Placeholder 29">
            <a:extLst>
              <a:ext uri="{FF2B5EF4-FFF2-40B4-BE49-F238E27FC236}">
                <a16:creationId xmlns:a16="http://schemas.microsoft.com/office/drawing/2014/main" id="{A218E014-B1A2-A155-EDC6-037D40F8388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696303" y="561443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3" name="Picture Placeholder 29">
            <a:extLst>
              <a:ext uri="{FF2B5EF4-FFF2-40B4-BE49-F238E27FC236}">
                <a16:creationId xmlns:a16="http://schemas.microsoft.com/office/drawing/2014/main" id="{E9C5E5A2-3DA7-6FA5-ADB2-6D441CC461F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42597" y="990068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5" name="Picture Placeholder 29">
            <a:extLst>
              <a:ext uri="{FF2B5EF4-FFF2-40B4-BE49-F238E27FC236}">
                <a16:creationId xmlns:a16="http://schemas.microsoft.com/office/drawing/2014/main" id="{B9FF9038-CC52-0DA2-647C-5DB82FFC4E5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8891" y="1418693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757AB831-E309-E2A9-1162-A07B0ADCEBE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69F1CAA-1970-E0D8-E4F9-E75BF3DE9C6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6CB7459C-BD5D-8559-0442-D6E473598DC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4176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1043">
          <p15:clr>
            <a:srgbClr val="FBAE40"/>
          </p15:clr>
        </p15:guide>
        <p15:guide id="3" pos="1791">
          <p15:clr>
            <a:srgbClr val="FBAE40"/>
          </p15:clr>
        </p15:guide>
        <p15:guide id="4" orient="horz" pos="2845" userDrawn="1">
          <p15:clr>
            <a:srgbClr val="FBAE40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6263" y="370375"/>
            <a:ext cx="7991475" cy="46275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Agenda</a:t>
            </a:r>
            <a:endParaRPr lang="de-DE"/>
          </a:p>
        </p:txBody>
      </p:sp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2" y="1064854"/>
            <a:ext cx="7991475" cy="3134398"/>
          </a:xfrm>
          <a:prstGeom prst="rect">
            <a:avLst/>
          </a:prstGeom>
        </p:spPr>
        <p:txBody>
          <a:bodyPr vert="horz" lIns="91440" tIns="0" rIns="91440" bIns="45720" rtlCol="0">
            <a:normAutofit/>
          </a:bodyPr>
          <a:lstStyle>
            <a:lvl1pPr>
              <a:defRPr lang="en-GB" dirty="0"/>
            </a:lvl1pPr>
          </a:lstStyle>
          <a:p>
            <a:pPr marL="285750" lvl="0" indent="-285750">
              <a:lnSpc>
                <a:spcPct val="100000"/>
              </a:lnSpc>
            </a:pPr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3C0C67A-CFFC-AB42-D05E-2C0F6F259D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455290" y="4487180"/>
            <a:ext cx="449530" cy="501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793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  <p15:guide id="2" pos="2880">
          <p15:clr>
            <a:srgbClr val="FBAE40"/>
          </p15:clr>
        </p15:guide>
        <p15:guide id="3" pos="2699">
          <p15:clr>
            <a:srgbClr val="FBAE40"/>
          </p15:clr>
        </p15:guide>
        <p15:guide id="4" pos="3061">
          <p15:clr>
            <a:srgbClr val="FBAE40"/>
          </p15:clr>
        </p15:guide>
        <p15:guide id="5" pos="5397">
          <p15:clr>
            <a:srgbClr val="FBAE40"/>
          </p15:clr>
        </p15:guide>
        <p15:guide id="6" orient="horz" pos="373">
          <p15:clr>
            <a:srgbClr val="FBAE40"/>
          </p15:clr>
        </p15:guide>
        <p15:guide id="7" orient="horz" pos="2799">
          <p15:clr>
            <a:srgbClr val="FBAE40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3" y="370375"/>
            <a:ext cx="7991475" cy="46275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Title</a:t>
            </a:r>
            <a:endParaRPr lang="de-DE"/>
          </a:p>
        </p:txBody>
      </p:sp>
      <p:sp>
        <p:nvSpPr>
          <p:cNvPr id="13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4770841" y="1064853"/>
            <a:ext cx="3796897" cy="31343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14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1064853"/>
            <a:ext cx="3796897" cy="31343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71CA029B-60A2-369C-C025-A2D93F17C8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455290" y="4487180"/>
            <a:ext cx="449530" cy="501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596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  <p15:guide id="2" pos="2880">
          <p15:clr>
            <a:srgbClr val="FBAE40"/>
          </p15:clr>
        </p15:guide>
        <p15:guide id="3" pos="2699">
          <p15:clr>
            <a:srgbClr val="FBAE40"/>
          </p15:clr>
        </p15:guide>
        <p15:guide id="4" pos="3061">
          <p15:clr>
            <a:srgbClr val="FBAE40"/>
          </p15:clr>
        </p15:guide>
        <p15:guide id="5" pos="5397">
          <p15:clr>
            <a:srgbClr val="FBAE40"/>
          </p15:clr>
        </p15:guide>
        <p15:guide id="6" orient="horz" pos="373">
          <p15:clr>
            <a:srgbClr val="FBAE40"/>
          </p15:clr>
        </p15:guide>
        <p15:guide id="7" orient="horz" pos="286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heading only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60">
            <a:extLst>
              <a:ext uri="{FF2B5EF4-FFF2-40B4-BE49-F238E27FC236}">
                <a16:creationId xmlns:a16="http://schemas.microsoft.com/office/drawing/2014/main" id="{2CDC2CA3-D176-F048-3B40-1D07CB40FF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56114" y="930150"/>
            <a:ext cx="1288800" cy="3283200"/>
          </a:xfrm>
          <a:custGeom>
            <a:avLst/>
            <a:gdLst>
              <a:gd name="connsiteX0" fmla="*/ 1288800 w 1288800"/>
              <a:gd name="connsiteY0" fmla="*/ 0 h 3283200"/>
              <a:gd name="connsiteX1" fmla="*/ 1288800 w 1288800"/>
              <a:gd name="connsiteY1" fmla="*/ 3283200 h 3283200"/>
              <a:gd name="connsiteX2" fmla="*/ 679913 w 1288800"/>
              <a:gd name="connsiteY2" fmla="*/ 2862614 h 3283200"/>
              <a:gd name="connsiteX3" fmla="*/ 679913 w 1288800"/>
              <a:gd name="connsiteY3" fmla="*/ 420588 h 3283200"/>
              <a:gd name="connsiteX4" fmla="*/ 608888 w 1288800"/>
              <a:gd name="connsiteY4" fmla="*/ 0 h 3283200"/>
              <a:gd name="connsiteX5" fmla="*/ 608888 w 1288800"/>
              <a:gd name="connsiteY5" fmla="*/ 3283200 h 3283200"/>
              <a:gd name="connsiteX6" fmla="*/ 0 w 1288800"/>
              <a:gd name="connsiteY6" fmla="*/ 2862614 h 3283200"/>
              <a:gd name="connsiteX7" fmla="*/ 0 w 1288800"/>
              <a:gd name="connsiteY7" fmla="*/ 420588 h 328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8800" h="3283200">
                <a:moveTo>
                  <a:pt x="1288800" y="0"/>
                </a:moveTo>
                <a:lnTo>
                  <a:pt x="1288800" y="3283200"/>
                </a:lnTo>
                <a:lnTo>
                  <a:pt x="679913" y="2862614"/>
                </a:lnTo>
                <a:lnTo>
                  <a:pt x="679913" y="420588"/>
                </a:lnTo>
                <a:close/>
                <a:moveTo>
                  <a:pt x="608888" y="0"/>
                </a:moveTo>
                <a:lnTo>
                  <a:pt x="608888" y="3283200"/>
                </a:lnTo>
                <a:lnTo>
                  <a:pt x="0" y="2862614"/>
                </a:lnTo>
                <a:lnTo>
                  <a:pt x="0" y="4205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5166038-EB60-1A49-6801-6DA719F29B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402" y="1599406"/>
            <a:ext cx="4051300" cy="1944688"/>
          </a:xfrm>
        </p:spPr>
        <p:txBody>
          <a:bodyPr anchor="ctr"/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2" name="Picture Placeholder 61">
            <a:extLst>
              <a:ext uri="{FF2B5EF4-FFF2-40B4-BE49-F238E27FC236}">
                <a16:creationId xmlns:a16="http://schemas.microsoft.com/office/drawing/2014/main" id="{3DE3BFB5-899E-1535-8CE4-BAA8259800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45956" y="930150"/>
            <a:ext cx="1288800" cy="3283200"/>
          </a:xfrm>
          <a:custGeom>
            <a:avLst/>
            <a:gdLst>
              <a:gd name="connsiteX0" fmla="*/ 1288800 w 1288800"/>
              <a:gd name="connsiteY0" fmla="*/ 0 h 3283200"/>
              <a:gd name="connsiteX1" fmla="*/ 1288800 w 1288800"/>
              <a:gd name="connsiteY1" fmla="*/ 3283200 h 3283200"/>
              <a:gd name="connsiteX2" fmla="*/ 679913 w 1288800"/>
              <a:gd name="connsiteY2" fmla="*/ 2862614 h 3283200"/>
              <a:gd name="connsiteX3" fmla="*/ 679913 w 1288800"/>
              <a:gd name="connsiteY3" fmla="*/ 420588 h 3283200"/>
              <a:gd name="connsiteX4" fmla="*/ 608888 w 1288800"/>
              <a:gd name="connsiteY4" fmla="*/ 0 h 3283200"/>
              <a:gd name="connsiteX5" fmla="*/ 608888 w 1288800"/>
              <a:gd name="connsiteY5" fmla="*/ 3283200 h 3283200"/>
              <a:gd name="connsiteX6" fmla="*/ 0 w 1288800"/>
              <a:gd name="connsiteY6" fmla="*/ 2862614 h 3283200"/>
              <a:gd name="connsiteX7" fmla="*/ 0 w 1288800"/>
              <a:gd name="connsiteY7" fmla="*/ 420588 h 328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8800" h="3283200">
                <a:moveTo>
                  <a:pt x="1288800" y="0"/>
                </a:moveTo>
                <a:lnTo>
                  <a:pt x="1288800" y="3283200"/>
                </a:lnTo>
                <a:lnTo>
                  <a:pt x="679913" y="2862614"/>
                </a:lnTo>
                <a:lnTo>
                  <a:pt x="679913" y="420588"/>
                </a:lnTo>
                <a:close/>
                <a:moveTo>
                  <a:pt x="608888" y="0"/>
                </a:moveTo>
                <a:lnTo>
                  <a:pt x="608888" y="3283200"/>
                </a:lnTo>
                <a:lnTo>
                  <a:pt x="0" y="2862614"/>
                </a:lnTo>
                <a:lnTo>
                  <a:pt x="0" y="4205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63" name="Picture Placeholder 62">
            <a:extLst>
              <a:ext uri="{FF2B5EF4-FFF2-40B4-BE49-F238E27FC236}">
                <a16:creationId xmlns:a16="http://schemas.microsoft.com/office/drawing/2014/main" id="{83D36DA0-8155-A164-37F4-6DADEA5EF59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435798" y="930150"/>
            <a:ext cx="1288800" cy="3283200"/>
          </a:xfrm>
          <a:custGeom>
            <a:avLst/>
            <a:gdLst>
              <a:gd name="connsiteX0" fmla="*/ 1288800 w 1288800"/>
              <a:gd name="connsiteY0" fmla="*/ 0 h 3283200"/>
              <a:gd name="connsiteX1" fmla="*/ 1288800 w 1288800"/>
              <a:gd name="connsiteY1" fmla="*/ 3283200 h 3283200"/>
              <a:gd name="connsiteX2" fmla="*/ 679913 w 1288800"/>
              <a:gd name="connsiteY2" fmla="*/ 2862614 h 3283200"/>
              <a:gd name="connsiteX3" fmla="*/ 679913 w 1288800"/>
              <a:gd name="connsiteY3" fmla="*/ 420588 h 3283200"/>
              <a:gd name="connsiteX4" fmla="*/ 608888 w 1288800"/>
              <a:gd name="connsiteY4" fmla="*/ 0 h 3283200"/>
              <a:gd name="connsiteX5" fmla="*/ 608888 w 1288800"/>
              <a:gd name="connsiteY5" fmla="*/ 3283200 h 3283200"/>
              <a:gd name="connsiteX6" fmla="*/ 0 w 1288800"/>
              <a:gd name="connsiteY6" fmla="*/ 2862614 h 3283200"/>
              <a:gd name="connsiteX7" fmla="*/ 0 w 1288800"/>
              <a:gd name="connsiteY7" fmla="*/ 420588 h 328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8800" h="3283200">
                <a:moveTo>
                  <a:pt x="1288800" y="0"/>
                </a:moveTo>
                <a:lnTo>
                  <a:pt x="1288800" y="3283200"/>
                </a:lnTo>
                <a:lnTo>
                  <a:pt x="679913" y="2862614"/>
                </a:lnTo>
                <a:lnTo>
                  <a:pt x="679913" y="420588"/>
                </a:lnTo>
                <a:close/>
                <a:moveTo>
                  <a:pt x="608888" y="0"/>
                </a:moveTo>
                <a:lnTo>
                  <a:pt x="608888" y="3283200"/>
                </a:lnTo>
                <a:lnTo>
                  <a:pt x="0" y="2862614"/>
                </a:lnTo>
                <a:lnTo>
                  <a:pt x="0" y="4205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64" name="Date Placeholder 63">
            <a:extLst>
              <a:ext uri="{FF2B5EF4-FFF2-40B4-BE49-F238E27FC236}">
                <a16:creationId xmlns:a16="http://schemas.microsoft.com/office/drawing/2014/main" id="{F014DD11-2B27-F8D6-DEFE-C1403A9A5BC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5" name="Footer Placeholder 64">
            <a:extLst>
              <a:ext uri="{FF2B5EF4-FFF2-40B4-BE49-F238E27FC236}">
                <a16:creationId xmlns:a16="http://schemas.microsoft.com/office/drawing/2014/main" id="{488391DB-10E0-47B1-01B7-AE92CDCA13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6" name="Slide Number Placeholder 65">
            <a:extLst>
              <a:ext uri="{FF2B5EF4-FFF2-40B4-BE49-F238E27FC236}">
                <a16:creationId xmlns:a16="http://schemas.microsoft.com/office/drawing/2014/main" id="{B9F156C1-7703-1CFD-3B04-34BE83A08F2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8863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1043">
          <p15:clr>
            <a:srgbClr val="FBAE40"/>
          </p15:clr>
        </p15:guide>
        <p15:guide id="3" pos="1791">
          <p15:clr>
            <a:srgbClr val="FBAE40"/>
          </p15:clr>
        </p15:guide>
        <p15:guide id="4" orient="horz" pos="2845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23D22629-AACC-C893-6943-13D0F102FD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84887" y="430213"/>
            <a:ext cx="2628000" cy="2412000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2C327A-2719-4897-2E0E-132CA0C33E2D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6084887" y="3090440"/>
            <a:ext cx="2628000" cy="1425997"/>
          </a:xfrm>
        </p:spPr>
        <p:txBody>
          <a:bodyPr/>
          <a:lstStyle>
            <a:lvl1pPr marL="0" indent="0">
              <a:buNone/>
              <a:defRPr sz="1600"/>
            </a:lvl1pPr>
            <a:lvl2pPr marL="0" indent="0">
              <a:buNone/>
              <a:defRPr sz="1400" b="1"/>
            </a:lvl2pPr>
            <a:lvl3pPr marL="0" indent="0">
              <a:spcAft>
                <a:spcPts val="1200"/>
              </a:spcAft>
              <a:buNone/>
              <a:defRPr sz="1400"/>
            </a:lvl3pPr>
            <a:lvl4pPr marL="0" indent="0">
              <a:buNone/>
              <a:defRPr sz="11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FF65693-F1FD-4BAE-0382-AD4943C7E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5454650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01D11CE8-9FF0-8FB3-3EA4-F2FD11B4C05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800" y="1239837"/>
            <a:ext cx="5454650" cy="327660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F736CA55-88EC-8ED2-B2A1-C02176A6F5E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7B72FD2F-D520-3B33-E031-262D1C6952C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D92194F8-4608-CA2B-F7A6-FAE21308D5E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5637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F94955A-6C35-0A99-3112-4B2335D735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49613" y="430213"/>
            <a:ext cx="2628000" cy="2412000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23D22629-AACC-C893-6943-13D0F102FD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84887" y="430213"/>
            <a:ext cx="2628000" cy="2412000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F7518CB2-BCC0-67CE-C411-8E5B94AD77A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249613" y="3090441"/>
            <a:ext cx="2628000" cy="1389484"/>
          </a:xfrm>
        </p:spPr>
        <p:txBody>
          <a:bodyPr/>
          <a:lstStyle>
            <a:lvl1pPr marL="0" indent="0">
              <a:buNone/>
              <a:defRPr sz="1600"/>
            </a:lvl1pPr>
            <a:lvl2pPr marL="0" indent="0">
              <a:buNone/>
              <a:defRPr sz="1400" b="1"/>
            </a:lvl2pPr>
            <a:lvl3pPr marL="0" indent="0">
              <a:spcAft>
                <a:spcPts val="1200"/>
              </a:spcAft>
              <a:buNone/>
              <a:defRPr sz="1400"/>
            </a:lvl3pPr>
            <a:lvl4pPr marL="0" indent="0">
              <a:buNone/>
              <a:defRPr sz="11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19B357C-3E5E-AC89-0543-249DE97A476D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6084887" y="3090441"/>
            <a:ext cx="2628000" cy="1389484"/>
          </a:xfrm>
        </p:spPr>
        <p:txBody>
          <a:bodyPr/>
          <a:lstStyle>
            <a:lvl1pPr marL="0" indent="0">
              <a:buNone/>
              <a:defRPr sz="1600"/>
            </a:lvl1pPr>
            <a:lvl2pPr marL="0" indent="0">
              <a:buNone/>
              <a:defRPr sz="1400" b="1"/>
            </a:lvl2pPr>
            <a:lvl3pPr marL="0" indent="0">
              <a:spcAft>
                <a:spcPts val="1200"/>
              </a:spcAft>
              <a:buNone/>
              <a:defRPr sz="1400"/>
            </a:lvl3pPr>
            <a:lvl4pPr marL="0" indent="0">
              <a:buNone/>
              <a:defRPr sz="11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8F38859-D1C1-4D86-C9FE-6CBBF5FE2C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2627313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28C83DB3-DFEC-7527-9A0E-57629B10AB0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800" y="1239838"/>
            <a:ext cx="2627313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2808ACBE-00C7-A2CE-D429-1D7F0FE8845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06AC1E29-1D0A-50AE-1153-91C38BD0D56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82EB3F2-FC23-6612-0C05-7AB4771415A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4346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el_less than 4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23D22629-AACC-C893-6943-13D0F102FD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54375" y="1605101"/>
            <a:ext cx="1211263" cy="1111708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427DA08C-177E-F04B-9C15-E22EE085739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69896" y="1610744"/>
            <a:ext cx="1211263" cy="1111708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AD3CEEB-B614-A1A5-E4A5-8885178F22E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85417" y="1610744"/>
            <a:ext cx="1211263" cy="1111708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45019459-9679-8F48-4E11-4A53DEFBCCC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500937" y="1610744"/>
            <a:ext cx="1211263" cy="1111708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99B1EB15-2AA1-BE6A-7606-2A7D7BF583C6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3254375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E7E1F67-D5C5-475D-37A8-F97AEBEE3A46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4669896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98E11567-E32A-37C4-605A-FF3FCECC8BF4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6085417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2FDB62B-15C5-9CCB-B3CB-6247CEE74FA5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7500937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5F49F8C-FE74-7B8A-BC5B-3C4549BA8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F1AE56F-FC2F-8B1A-D55F-425120F131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54375" y="1239838"/>
            <a:ext cx="5457825" cy="245772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add panel or speaker heading</a:t>
            </a:r>
            <a:endParaRPr lang="en-US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D9FBC734-062E-6F41-5510-2CB5A0DB84E8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31800" y="1239838"/>
            <a:ext cx="2627313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049F9C5E-D7AA-0F02-070D-96D053FF4F8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D0CCDC90-CA2A-C50E-AEE0-5C354AEF7C28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376E706A-0FF9-DA8F-0C2D-C96D54DF6E9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7105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abel Cover -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918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918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sp>
        <p:nvSpPr>
          <p:cNvPr id="3" name="Picture Placeholder 19">
            <a:extLst>
              <a:ext uri="{FF2B5EF4-FFF2-40B4-BE49-F238E27FC236}">
                <a16:creationId xmlns:a16="http://schemas.microsoft.com/office/drawing/2014/main" id="{225CEF58-569D-9BFC-90A5-8CD7AAA050F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028600" y="411164"/>
            <a:ext cx="3682128" cy="3924299"/>
          </a:xfrm>
          <a:custGeom>
            <a:avLst/>
            <a:gdLst>
              <a:gd name="connsiteX0" fmla="*/ 0 w 4171131"/>
              <a:gd name="connsiteY0" fmla="*/ 1 h 4445464"/>
              <a:gd name="connsiteX1" fmla="*/ 943908 w 4171131"/>
              <a:gd name="connsiteY1" fmla="*/ 569527 h 4445464"/>
              <a:gd name="connsiteX2" fmla="*/ 943908 w 4171131"/>
              <a:gd name="connsiteY2" fmla="*/ 3875937 h 4445464"/>
              <a:gd name="connsiteX3" fmla="*/ 0 w 4171131"/>
              <a:gd name="connsiteY3" fmla="*/ 4445464 h 4445464"/>
              <a:gd name="connsiteX4" fmla="*/ 3227322 w 4171131"/>
              <a:gd name="connsiteY4" fmla="*/ 0 h 4445464"/>
              <a:gd name="connsiteX5" fmla="*/ 4171131 w 4171131"/>
              <a:gd name="connsiteY5" fmla="*/ 569527 h 4445464"/>
              <a:gd name="connsiteX6" fmla="*/ 4171131 w 4171131"/>
              <a:gd name="connsiteY6" fmla="*/ 3875937 h 4445464"/>
              <a:gd name="connsiteX7" fmla="*/ 3227322 w 4171131"/>
              <a:gd name="connsiteY7" fmla="*/ 4445464 h 4445464"/>
              <a:gd name="connsiteX8" fmla="*/ 2131400 w 4171131"/>
              <a:gd name="connsiteY8" fmla="*/ 0 h 4445464"/>
              <a:gd name="connsiteX9" fmla="*/ 3105631 w 4171131"/>
              <a:gd name="connsiteY9" fmla="*/ 569527 h 4445464"/>
              <a:gd name="connsiteX10" fmla="*/ 3105631 w 4171131"/>
              <a:gd name="connsiteY10" fmla="*/ 3875937 h 4445464"/>
              <a:gd name="connsiteX11" fmla="*/ 2131400 w 4171131"/>
              <a:gd name="connsiteY11" fmla="*/ 4445464 h 4445464"/>
              <a:gd name="connsiteX12" fmla="*/ 1065699 w 4171131"/>
              <a:gd name="connsiteY12" fmla="*/ 0 h 4445464"/>
              <a:gd name="connsiteX13" fmla="*/ 2040031 w 4171131"/>
              <a:gd name="connsiteY13" fmla="*/ 569527 h 4445464"/>
              <a:gd name="connsiteX14" fmla="*/ 2040031 w 4171131"/>
              <a:gd name="connsiteY14" fmla="*/ 3875937 h 4445464"/>
              <a:gd name="connsiteX15" fmla="*/ 1065699 w 4171131"/>
              <a:gd name="connsiteY15" fmla="*/ 4445464 h 4445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171131" h="4445464">
                <a:moveTo>
                  <a:pt x="0" y="1"/>
                </a:moveTo>
                <a:lnTo>
                  <a:pt x="943908" y="569527"/>
                </a:lnTo>
                <a:lnTo>
                  <a:pt x="943908" y="3875937"/>
                </a:lnTo>
                <a:lnTo>
                  <a:pt x="0" y="4445464"/>
                </a:lnTo>
                <a:close/>
                <a:moveTo>
                  <a:pt x="3227322" y="0"/>
                </a:moveTo>
                <a:lnTo>
                  <a:pt x="4171131" y="569527"/>
                </a:lnTo>
                <a:lnTo>
                  <a:pt x="4171131" y="3875937"/>
                </a:lnTo>
                <a:lnTo>
                  <a:pt x="3227322" y="4445464"/>
                </a:lnTo>
                <a:close/>
                <a:moveTo>
                  <a:pt x="2131400" y="0"/>
                </a:moveTo>
                <a:lnTo>
                  <a:pt x="3105631" y="569527"/>
                </a:lnTo>
                <a:lnTo>
                  <a:pt x="3105631" y="3875937"/>
                </a:lnTo>
                <a:lnTo>
                  <a:pt x="2131400" y="4445464"/>
                </a:lnTo>
                <a:close/>
                <a:moveTo>
                  <a:pt x="1065699" y="0"/>
                </a:moveTo>
                <a:lnTo>
                  <a:pt x="2040031" y="569527"/>
                </a:lnTo>
                <a:lnTo>
                  <a:pt x="2040031" y="3875937"/>
                </a:lnTo>
                <a:lnTo>
                  <a:pt x="1065699" y="444546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insert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94ACFC5-D53C-B324-758C-416E26F66A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  <p:pic>
        <p:nvPicPr>
          <p:cNvPr id="4" name="Graphic 25">
            <a:extLst>
              <a:ext uri="{FF2B5EF4-FFF2-40B4-BE49-F238E27FC236}">
                <a16:creationId xmlns:a16="http://schemas.microsoft.com/office/drawing/2014/main" id="{A56E235E-3333-FC12-8934-68888C9251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4975" y="4483099"/>
            <a:ext cx="1425722" cy="469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81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4" userDrawn="1">
          <p15:clr>
            <a:srgbClr val="F26B43"/>
          </p15:clr>
        </p15:guide>
        <p15:guide id="2" orient="horz" pos="518" userDrawn="1">
          <p15:clr>
            <a:srgbClr val="547EBF"/>
          </p15:clr>
        </p15:guide>
        <p15:guide id="3" orient="horz" pos="270" userDrawn="1">
          <p15:clr>
            <a:srgbClr val="547EBF"/>
          </p15:clr>
        </p15:guide>
        <p15:guide id="4" pos="272" userDrawn="1">
          <p15:clr>
            <a:srgbClr val="547EBF"/>
          </p15:clr>
        </p15:guide>
        <p15:guide id="5" orient="horz" pos="2822" userDrawn="1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el_more than 4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AFCC1184-3DE3-8F04-8CF9-D417F31A39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54375" y="1239838"/>
            <a:ext cx="5457825" cy="245772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add panel or speaker heading</a:t>
            </a:r>
            <a:endParaRPr lang="en-US"/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D31B236C-C114-3190-6B06-C940190626EC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3254375" y="3110092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CCBB9E89-9D54-5D73-94A9-4B95AE1C1FE0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4669896" y="3110092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95B97352-951E-E924-1917-DAEE22D9ACBE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6085417" y="3110092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A917C1FE-213A-643B-4405-AC952A023E6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7500937" y="3110092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90A86B70-8AC4-FCB6-685C-7DD07A274E8F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3254175" y="1599687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7D7C14DD-407D-07C6-497A-DC3E1DB28826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4669696" y="1599687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E5137970-C136-1740-8D23-BDE74EAEC6A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6085217" y="1599687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03515153-C382-A4AA-2B1A-9E667578CF2B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7500737" y="1599687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0B3E7B-8BAA-177B-DE7F-D25E430802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1999"/>
            <a:ext cx="8280000" cy="6268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14">
            <a:extLst>
              <a:ext uri="{FF2B5EF4-FFF2-40B4-BE49-F238E27FC236}">
                <a16:creationId xmlns:a16="http://schemas.microsoft.com/office/drawing/2014/main" id="{A7327519-CC28-0210-A08B-69220EBD604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31800" y="1239838"/>
            <a:ext cx="2627313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F782F27-CD1B-085F-D3C8-3BD958B4537D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CDB4F78-E25E-96F8-CD0D-3226BF34198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7CB2D31-FFE8-1331-2AF3-7022EB9F7FBB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462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el_less than 6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C237CC5-3A8A-4ADC-E68E-CABE38517D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1800" y="1239838"/>
            <a:ext cx="8280400" cy="245772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add panel or speaker heading</a:t>
            </a:r>
            <a:endParaRPr lang="en-US"/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B7761E2B-E846-942D-7A91-E535F6D7B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1F2D5110-43C7-E266-3CA5-AEC4AEA2FE6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59454" y="1605101"/>
            <a:ext cx="1211263" cy="1111708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6E2678D7-41D4-486F-FF4F-78C04CE57A2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73281" y="1605101"/>
            <a:ext cx="1211263" cy="1111708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1C6721DE-C642-F39D-0463-7360E045FD9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87108" y="1605101"/>
            <a:ext cx="1211263" cy="1111708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5" name="Picture Placeholder 8">
            <a:extLst>
              <a:ext uri="{FF2B5EF4-FFF2-40B4-BE49-F238E27FC236}">
                <a16:creationId xmlns:a16="http://schemas.microsoft.com/office/drawing/2014/main" id="{99CF8B11-C1E7-E774-563D-8C710DF2ED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500937" y="1605101"/>
            <a:ext cx="1211263" cy="1111708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79FF5601-5F17-187C-AB46-ADB8C72EBDA4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3259454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EEC3B744-4E6C-AAAF-E440-2A014CCFD8B7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4673281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B95A5C80-DAB6-A2F5-C295-AB80426D43DA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6087108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E5FE90F1-EC32-69FD-AEF2-0710A6254081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7500937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30" name="Picture Placeholder 8">
            <a:extLst>
              <a:ext uri="{FF2B5EF4-FFF2-40B4-BE49-F238E27FC236}">
                <a16:creationId xmlns:a16="http://schemas.microsoft.com/office/drawing/2014/main" id="{B4F18A0E-A745-69E0-6757-DAC2DE59D81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800" y="1605101"/>
            <a:ext cx="1211263" cy="1111708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5400D85E-B618-DE2D-2EAD-6DAC6CCDF146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431800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51BBF7E9-AAFF-17E0-B415-1D4E897FB72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845627" y="1605101"/>
            <a:ext cx="1211263" cy="1111708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2365336-BFD6-03F6-AF22-F302361D167F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1845627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34" name="Date Placeholder 33">
            <a:extLst>
              <a:ext uri="{FF2B5EF4-FFF2-40B4-BE49-F238E27FC236}">
                <a16:creationId xmlns:a16="http://schemas.microsoft.com/office/drawing/2014/main" id="{B43F45F1-73AE-354B-5227-885DC9D3A5B6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5" name="Footer Placeholder 34">
            <a:extLst>
              <a:ext uri="{FF2B5EF4-FFF2-40B4-BE49-F238E27FC236}">
                <a16:creationId xmlns:a16="http://schemas.microsoft.com/office/drawing/2014/main" id="{9715EA20-185E-1BEE-C190-1D349718ED07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6" name="Slide Number Placeholder 35">
            <a:extLst>
              <a:ext uri="{FF2B5EF4-FFF2-40B4-BE49-F238E27FC236}">
                <a16:creationId xmlns:a16="http://schemas.microsoft.com/office/drawing/2014/main" id="{FED1F77B-4203-47EB-654C-2693FA118347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908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el_more than 8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EB59006-3BBD-281F-78D1-D9352B75BFA0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428625" y="3124789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06FD665-8996-D763-D378-1F8C1C1F04AF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1843087" y="3124789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A6DA1A1-C8F3-25DB-1B58-CF796E169931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3257549" y="3124789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1566D6F6-0E3F-EE0A-BBC1-1589B98FF895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672011" y="3124789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2137304-3F5A-F067-1B98-F70E467B0F88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428625" y="1605101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54D785B4-1E7D-81DC-5654-49C69F189311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1843087" y="1605101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B23AC1B5-5F47-BB1D-E8EA-585C0B1647D2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3257549" y="1605101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A8E68E8D-F5B9-B58B-5831-66EA641AB681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4672011" y="1605101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EBB07D1A-E13C-6B4F-6A33-9C40B1B00093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6086473" y="3124789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7EBAAB38-F3A7-5DE4-A3F0-6EE99A87E487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7500935" y="3124789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FFAC1B36-70E1-2D2A-75AF-324C1B10CA52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6086473" y="1605101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B4B5F10B-4FDD-5D57-0116-DF3B28C404EA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7500935" y="1605101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2FAC179E-C178-B33A-1969-ECA62CBC250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1800" y="1239838"/>
            <a:ext cx="8280400" cy="245772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add panel or speaker heading</a:t>
            </a:r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7B589FB-7C6D-AF47-10F1-0447825B9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C710ACAE-3913-A896-C1B0-664A9135FAE4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8E78662B-DCB6-D231-01F7-BB4B6AB368A6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AE344883-160A-DA58-EA75-78B9547ED9E1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2637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39A3A30-A56F-E2FB-79FE-E2C2EACB066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tIns="180000" anchor="t" anchorCtr="1">
            <a:norm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2D23A3-5C1E-2596-48C6-781B86C3E4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4"/>
            <a:ext cx="8274613" cy="1512886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/>
              <a:t>“Quote.”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8F6EDF-548C-40F3-B63E-35E5B45BF4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2765025"/>
            <a:ext cx="3918513" cy="896731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ource Nam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DAAEF3F-E328-7721-F648-2FF672DBB8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4717794"/>
            <a:ext cx="931863" cy="12858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7D8AFC8-F903-5D48-7CC9-B1A3345EA16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5AB6068-8461-AD2E-C05A-1F394DEC22F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42F516F-6919-7D15-55FA-06BA1A0A37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68915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ro slide_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CD033DE1-C9D1-F2F6-7B17-0FBA3B293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F008FAA6-50EB-3DE9-3A27-95D51F6DF52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1800" y="1239838"/>
            <a:ext cx="8280200" cy="327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07801E6-EF51-2725-8318-B6B617B61A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4717794"/>
            <a:ext cx="931863" cy="12858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181119D-C758-9369-D248-92C5CD96AE4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C0D0642-313E-E31B-7543-3515E3105AD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0008F28A-3951-0D91-22D0-1974A92728F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492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ro slide_I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DDF316EA-5E27-88B1-60D7-DB80BD5885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04ACE7ED-1324-94ED-1F75-92DE73E2D18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1800" y="1239838"/>
            <a:ext cx="8280200" cy="327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A83AFBA-20D8-B042-FBA7-88F1B124E2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4717794"/>
            <a:ext cx="931863" cy="12858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368A4B-8D4B-322F-7092-09E53B59E4C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B3A794-7A2E-42D3-34CB-1A1ADBCA3E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6A04973B-97D4-2A21-42DD-CEEE3D38AC3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0121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ro slide_Graphi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735EDF26-9E77-A64C-DCD3-7A6C5D1677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DA1E8C03-B9C6-EE7E-E9B6-C38ABFC2B2F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1800" y="1239838"/>
            <a:ext cx="8280200" cy="327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DE0EC10-2EFD-D692-9D76-FA2E4A2CA5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4717794"/>
            <a:ext cx="931863" cy="12858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D18F13-C921-76DA-17F2-458B4E98EA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A3E6E6-3E34-82A3-4567-213BC4E7909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F9B3D974-2EC8-C50A-1A6A-905B3FCA36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123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only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73B5B08-F499-CEEF-6D82-9A22E374BD9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tIns="180000" anchor="t" anchorCtr="1">
            <a:norm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3F81E1F4-F80E-42A5-9678-2B47BFDCD1F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4717794"/>
            <a:ext cx="931863" cy="12858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8B3CF131-71A9-C607-2FD4-B83D3899F3F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4964504-AAD4-B1B7-2898-598DB76D90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8930FC2-B4D1-2863-011A-6FEB6FA5A8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07591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only ligh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5A6EF430-E285-D980-02EE-D5D2E56F485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tIns="180000" anchor="t" anchorCtr="1">
            <a:norm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822DC28B-52DC-A490-EBB7-87ABAA0F16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4717794"/>
            <a:ext cx="931863" cy="12858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3C82D7-2207-E591-A275-2A1C8DB5E625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E6276C2-EA74-74D0-58B7-5AED9E348F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903BAF-78F2-B993-E917-A3ECA433AF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36970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WallPap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856A454-D930-61C7-4877-0516E4AEC018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16690" b="-16690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DAAFC87-EB9B-8E38-1FCE-0BA94F1CBC2A}"/>
              </a:ext>
            </a:extLst>
          </p:cNvPr>
          <p:cNvSpPr/>
          <p:nvPr userDrawn="1"/>
        </p:nvSpPr>
        <p:spPr>
          <a:xfrm>
            <a:off x="0" y="1058863"/>
            <a:ext cx="4785582" cy="40846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3560DFD-FF2E-F6E5-BDE1-E6BCDD3196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948437"/>
            <a:ext cx="3918513" cy="128961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divider title</a:t>
            </a:r>
            <a:endParaRPr lang="en-US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71CDD51B-73E1-76FB-FE20-5A21A4A1B9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367294"/>
            <a:ext cx="3918513" cy="896731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70EFC67-4553-68C8-6E64-7DA0FE2BA0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800" y="4717794"/>
            <a:ext cx="931835" cy="129600"/>
          </a:xfrm>
          <a:prstGeom prst="rect">
            <a:avLst/>
          </a:prstGeom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6961C34-CBF8-2B28-0ACE-DFE9793084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37600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abel Cover -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704107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704107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C023564-A8C0-59B7-53F7-E6D3FBAED7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  <p:pic>
        <p:nvPicPr>
          <p:cNvPr id="7" name="Graphic 25">
            <a:extLst>
              <a:ext uri="{FF2B5EF4-FFF2-40B4-BE49-F238E27FC236}">
                <a16:creationId xmlns:a16="http://schemas.microsoft.com/office/drawing/2014/main" id="{0823AE8E-836A-E923-33BE-7F642DFB70D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4975" y="4483099"/>
            <a:ext cx="1425722" cy="469901"/>
          </a:xfrm>
          <a:prstGeom prst="rect">
            <a:avLst/>
          </a:prstGeom>
        </p:spPr>
      </p:pic>
      <p:sp>
        <p:nvSpPr>
          <p:cNvPr id="5" name="Picture Placeholder 11">
            <a:extLst>
              <a:ext uri="{FF2B5EF4-FFF2-40B4-BE49-F238E27FC236}">
                <a16:creationId xmlns:a16="http://schemas.microsoft.com/office/drawing/2014/main" id="{84DA8362-D30F-485D-0F81-8D4790ABA45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800442" y="428625"/>
            <a:ext cx="1905708" cy="3924299"/>
          </a:xfrm>
          <a:custGeom>
            <a:avLst/>
            <a:gdLst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3541647 w 4459850"/>
              <a:gd name="connsiteY4" fmla="*/ 0 h 4464050"/>
              <a:gd name="connsiteX5" fmla="*/ 3543399 w 4459850"/>
              <a:gd name="connsiteY5" fmla="*/ 0 h 4464050"/>
              <a:gd name="connsiteX6" fmla="*/ 3543399 w 4459850"/>
              <a:gd name="connsiteY6" fmla="*/ 4464050 h 4464050"/>
              <a:gd name="connsiteX7" fmla="*/ 3541650 w 4459850"/>
              <a:gd name="connsiteY7" fmla="*/ 4464050 h 4464050"/>
              <a:gd name="connsiteX8" fmla="*/ 2911872 w 4459850"/>
              <a:gd name="connsiteY8" fmla="*/ 3893419 h 4464050"/>
              <a:gd name="connsiteX9" fmla="*/ 2911872 w 4459850"/>
              <a:gd name="connsiteY9" fmla="*/ 570628 h 4464050"/>
              <a:gd name="connsiteX10" fmla="*/ 2793440 w 4459850"/>
              <a:gd name="connsiteY10" fmla="*/ 0 h 4464050"/>
              <a:gd name="connsiteX11" fmla="*/ 2794835 w 4459850"/>
              <a:gd name="connsiteY11" fmla="*/ 0 h 4464050"/>
              <a:gd name="connsiteX12" fmla="*/ 2794835 w 4459850"/>
              <a:gd name="connsiteY12" fmla="*/ 4464050 h 4464050"/>
              <a:gd name="connsiteX13" fmla="*/ 2793443 w 4459850"/>
              <a:gd name="connsiteY13" fmla="*/ 4464050 h 4464050"/>
              <a:gd name="connsiteX14" fmla="*/ 2292030 w 4459850"/>
              <a:gd name="connsiteY14" fmla="*/ 3893419 h 4464050"/>
              <a:gd name="connsiteX15" fmla="*/ 2292030 w 4459850"/>
              <a:gd name="connsiteY15" fmla="*/ 570628 h 4464050"/>
              <a:gd name="connsiteX16" fmla="*/ 1672385 w 4459850"/>
              <a:gd name="connsiteY16" fmla="*/ 0 h 4464050"/>
              <a:gd name="connsiteX17" fmla="*/ 1673781 w 4459850"/>
              <a:gd name="connsiteY17" fmla="*/ 0 h 4464050"/>
              <a:gd name="connsiteX18" fmla="*/ 2175191 w 4459850"/>
              <a:gd name="connsiteY18" fmla="*/ 570628 h 4464050"/>
              <a:gd name="connsiteX19" fmla="*/ 2175191 w 4459850"/>
              <a:gd name="connsiteY19" fmla="*/ 3893320 h 4464050"/>
              <a:gd name="connsiteX20" fmla="*/ 1673690 w 4459850"/>
              <a:gd name="connsiteY20" fmla="*/ 4464050 h 4464050"/>
              <a:gd name="connsiteX21" fmla="*/ 1672385 w 4459850"/>
              <a:gd name="connsiteY21" fmla="*/ 4464050 h 4464050"/>
              <a:gd name="connsiteX22" fmla="*/ 923822 w 4459850"/>
              <a:gd name="connsiteY22" fmla="*/ 0 h 4464050"/>
              <a:gd name="connsiteX23" fmla="*/ 925575 w 4459850"/>
              <a:gd name="connsiteY23" fmla="*/ 0 h 4464050"/>
              <a:gd name="connsiteX24" fmla="*/ 1555348 w 4459850"/>
              <a:gd name="connsiteY24" fmla="*/ 570628 h 4464050"/>
              <a:gd name="connsiteX25" fmla="*/ 1555348 w 4459850"/>
              <a:gd name="connsiteY25" fmla="*/ 3893320 h 4464050"/>
              <a:gd name="connsiteX26" fmla="*/ 925461 w 4459850"/>
              <a:gd name="connsiteY26" fmla="*/ 4464050 h 4464050"/>
              <a:gd name="connsiteX27" fmla="*/ 923822 w 4459850"/>
              <a:gd name="connsiteY27" fmla="*/ 4464050 h 4464050"/>
              <a:gd name="connsiteX28" fmla="*/ 0 w 4459850"/>
              <a:gd name="connsiteY28" fmla="*/ 0 h 4464050"/>
              <a:gd name="connsiteX29" fmla="*/ 2239 w 4459850"/>
              <a:gd name="connsiteY29" fmla="*/ 0 h 4464050"/>
              <a:gd name="connsiteX30" fmla="*/ 806883 w 4459850"/>
              <a:gd name="connsiteY30" fmla="*/ 570628 h 4464050"/>
              <a:gd name="connsiteX31" fmla="*/ 806883 w 4459850"/>
              <a:gd name="connsiteY31" fmla="*/ 3893419 h 4464050"/>
              <a:gd name="connsiteX32" fmla="*/ 2234 w 4459850"/>
              <a:gd name="connsiteY32" fmla="*/ 4464050 h 4464050"/>
              <a:gd name="connsiteX33" fmla="*/ 0 w 4459850"/>
              <a:gd name="connsiteY33" fmla="*/ 446405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793440 w 4459850"/>
              <a:gd name="connsiteY12" fmla="*/ 0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2292030 w 4459850"/>
              <a:gd name="connsiteY17" fmla="*/ 570628 h 4464050"/>
              <a:gd name="connsiteX18" fmla="*/ 2793440 w 4459850"/>
              <a:gd name="connsiteY18" fmla="*/ 0 h 4464050"/>
              <a:gd name="connsiteX19" fmla="*/ 1672385 w 4459850"/>
              <a:gd name="connsiteY19" fmla="*/ 0 h 4464050"/>
              <a:gd name="connsiteX20" fmla="*/ 1673781 w 4459850"/>
              <a:gd name="connsiteY20" fmla="*/ 0 h 4464050"/>
              <a:gd name="connsiteX21" fmla="*/ 2175191 w 4459850"/>
              <a:gd name="connsiteY21" fmla="*/ 570628 h 4464050"/>
              <a:gd name="connsiteX22" fmla="*/ 2175191 w 4459850"/>
              <a:gd name="connsiteY22" fmla="*/ 3893320 h 4464050"/>
              <a:gd name="connsiteX23" fmla="*/ 1673690 w 4459850"/>
              <a:gd name="connsiteY23" fmla="*/ 4464050 h 4464050"/>
              <a:gd name="connsiteX24" fmla="*/ 1672385 w 4459850"/>
              <a:gd name="connsiteY24" fmla="*/ 4464050 h 4464050"/>
              <a:gd name="connsiteX25" fmla="*/ 1672385 w 4459850"/>
              <a:gd name="connsiteY25" fmla="*/ 0 h 4464050"/>
              <a:gd name="connsiteX26" fmla="*/ 923822 w 4459850"/>
              <a:gd name="connsiteY26" fmla="*/ 0 h 4464050"/>
              <a:gd name="connsiteX27" fmla="*/ 925575 w 4459850"/>
              <a:gd name="connsiteY27" fmla="*/ 0 h 4464050"/>
              <a:gd name="connsiteX28" fmla="*/ 1555348 w 4459850"/>
              <a:gd name="connsiteY28" fmla="*/ 570628 h 4464050"/>
              <a:gd name="connsiteX29" fmla="*/ 1555348 w 4459850"/>
              <a:gd name="connsiteY29" fmla="*/ 3893320 h 4464050"/>
              <a:gd name="connsiteX30" fmla="*/ 925461 w 4459850"/>
              <a:gd name="connsiteY30" fmla="*/ 4464050 h 4464050"/>
              <a:gd name="connsiteX31" fmla="*/ 923822 w 4459850"/>
              <a:gd name="connsiteY31" fmla="*/ 4464050 h 4464050"/>
              <a:gd name="connsiteX32" fmla="*/ 923822 w 4459850"/>
              <a:gd name="connsiteY32" fmla="*/ 0 h 4464050"/>
              <a:gd name="connsiteX33" fmla="*/ 0 w 4459850"/>
              <a:gd name="connsiteY33" fmla="*/ 0 h 4464050"/>
              <a:gd name="connsiteX34" fmla="*/ 2239 w 4459850"/>
              <a:gd name="connsiteY34" fmla="*/ 0 h 4464050"/>
              <a:gd name="connsiteX35" fmla="*/ 806883 w 4459850"/>
              <a:gd name="connsiteY35" fmla="*/ 3893419 h 4464050"/>
              <a:gd name="connsiteX36" fmla="*/ 2234 w 4459850"/>
              <a:gd name="connsiteY36" fmla="*/ 4464050 h 4464050"/>
              <a:gd name="connsiteX37" fmla="*/ 0 w 4459850"/>
              <a:gd name="connsiteY37" fmla="*/ 4464050 h 4464050"/>
              <a:gd name="connsiteX38" fmla="*/ 0 w 4459850"/>
              <a:gd name="connsiteY38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793440 w 4459850"/>
              <a:gd name="connsiteY12" fmla="*/ 0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2292030 w 4459850"/>
              <a:gd name="connsiteY17" fmla="*/ 570628 h 4464050"/>
              <a:gd name="connsiteX18" fmla="*/ 2793440 w 4459850"/>
              <a:gd name="connsiteY18" fmla="*/ 0 h 4464050"/>
              <a:gd name="connsiteX19" fmla="*/ 1672385 w 4459850"/>
              <a:gd name="connsiteY19" fmla="*/ 0 h 4464050"/>
              <a:gd name="connsiteX20" fmla="*/ 1673781 w 4459850"/>
              <a:gd name="connsiteY20" fmla="*/ 0 h 4464050"/>
              <a:gd name="connsiteX21" fmla="*/ 2175191 w 4459850"/>
              <a:gd name="connsiteY21" fmla="*/ 570628 h 4464050"/>
              <a:gd name="connsiteX22" fmla="*/ 2175191 w 4459850"/>
              <a:gd name="connsiteY22" fmla="*/ 3893320 h 4464050"/>
              <a:gd name="connsiteX23" fmla="*/ 1673690 w 4459850"/>
              <a:gd name="connsiteY23" fmla="*/ 4464050 h 4464050"/>
              <a:gd name="connsiteX24" fmla="*/ 1672385 w 4459850"/>
              <a:gd name="connsiteY24" fmla="*/ 4464050 h 4464050"/>
              <a:gd name="connsiteX25" fmla="*/ 1672385 w 4459850"/>
              <a:gd name="connsiteY25" fmla="*/ 0 h 4464050"/>
              <a:gd name="connsiteX26" fmla="*/ 923822 w 4459850"/>
              <a:gd name="connsiteY26" fmla="*/ 0 h 4464050"/>
              <a:gd name="connsiteX27" fmla="*/ 925575 w 4459850"/>
              <a:gd name="connsiteY27" fmla="*/ 0 h 4464050"/>
              <a:gd name="connsiteX28" fmla="*/ 1555348 w 4459850"/>
              <a:gd name="connsiteY28" fmla="*/ 570628 h 4464050"/>
              <a:gd name="connsiteX29" fmla="*/ 1555348 w 4459850"/>
              <a:gd name="connsiteY29" fmla="*/ 3893320 h 4464050"/>
              <a:gd name="connsiteX30" fmla="*/ 925461 w 4459850"/>
              <a:gd name="connsiteY30" fmla="*/ 4464050 h 4464050"/>
              <a:gd name="connsiteX31" fmla="*/ 923822 w 4459850"/>
              <a:gd name="connsiteY31" fmla="*/ 4464050 h 4464050"/>
              <a:gd name="connsiteX32" fmla="*/ 923822 w 4459850"/>
              <a:gd name="connsiteY32" fmla="*/ 0 h 4464050"/>
              <a:gd name="connsiteX33" fmla="*/ 0 w 4459850"/>
              <a:gd name="connsiteY33" fmla="*/ 4464050 h 4464050"/>
              <a:gd name="connsiteX34" fmla="*/ 2239 w 4459850"/>
              <a:gd name="connsiteY34" fmla="*/ 0 h 4464050"/>
              <a:gd name="connsiteX35" fmla="*/ 806883 w 4459850"/>
              <a:gd name="connsiteY35" fmla="*/ 3893419 h 4464050"/>
              <a:gd name="connsiteX36" fmla="*/ 2234 w 4459850"/>
              <a:gd name="connsiteY36" fmla="*/ 4464050 h 4464050"/>
              <a:gd name="connsiteX37" fmla="*/ 0 w 4459850"/>
              <a:gd name="connsiteY37" fmla="*/ 4464050 h 4464050"/>
              <a:gd name="connsiteX0" fmla="*/ 4457616 w 4457616"/>
              <a:gd name="connsiteY0" fmla="*/ 3569 h 4464050"/>
              <a:gd name="connsiteX1" fmla="*/ 4457616 w 4457616"/>
              <a:gd name="connsiteY1" fmla="*/ 4460478 h 4464050"/>
              <a:gd name="connsiteX2" fmla="*/ 3658004 w 4457616"/>
              <a:gd name="connsiteY2" fmla="*/ 3893419 h 4464050"/>
              <a:gd name="connsiteX3" fmla="*/ 3658004 w 4457616"/>
              <a:gd name="connsiteY3" fmla="*/ 570628 h 4464050"/>
              <a:gd name="connsiteX4" fmla="*/ 4457616 w 4457616"/>
              <a:gd name="connsiteY4" fmla="*/ 3569 h 4464050"/>
              <a:gd name="connsiteX5" fmla="*/ 3539413 w 4457616"/>
              <a:gd name="connsiteY5" fmla="*/ 0 h 4464050"/>
              <a:gd name="connsiteX6" fmla="*/ 3541165 w 4457616"/>
              <a:gd name="connsiteY6" fmla="*/ 0 h 4464050"/>
              <a:gd name="connsiteX7" fmla="*/ 3541165 w 4457616"/>
              <a:gd name="connsiteY7" fmla="*/ 4464050 h 4464050"/>
              <a:gd name="connsiteX8" fmla="*/ 3539416 w 4457616"/>
              <a:gd name="connsiteY8" fmla="*/ 4464050 h 4464050"/>
              <a:gd name="connsiteX9" fmla="*/ 2909638 w 4457616"/>
              <a:gd name="connsiteY9" fmla="*/ 3893419 h 4464050"/>
              <a:gd name="connsiteX10" fmla="*/ 2909638 w 4457616"/>
              <a:gd name="connsiteY10" fmla="*/ 570628 h 4464050"/>
              <a:gd name="connsiteX11" fmla="*/ 3539413 w 4457616"/>
              <a:gd name="connsiteY11" fmla="*/ 0 h 4464050"/>
              <a:gd name="connsiteX12" fmla="*/ 2791206 w 4457616"/>
              <a:gd name="connsiteY12" fmla="*/ 0 h 4464050"/>
              <a:gd name="connsiteX13" fmla="*/ 2792601 w 4457616"/>
              <a:gd name="connsiteY13" fmla="*/ 0 h 4464050"/>
              <a:gd name="connsiteX14" fmla="*/ 2792601 w 4457616"/>
              <a:gd name="connsiteY14" fmla="*/ 4464050 h 4464050"/>
              <a:gd name="connsiteX15" fmla="*/ 2791209 w 4457616"/>
              <a:gd name="connsiteY15" fmla="*/ 4464050 h 4464050"/>
              <a:gd name="connsiteX16" fmla="*/ 2289796 w 4457616"/>
              <a:gd name="connsiteY16" fmla="*/ 3893419 h 4464050"/>
              <a:gd name="connsiteX17" fmla="*/ 2289796 w 4457616"/>
              <a:gd name="connsiteY17" fmla="*/ 570628 h 4464050"/>
              <a:gd name="connsiteX18" fmla="*/ 2791206 w 4457616"/>
              <a:gd name="connsiteY18" fmla="*/ 0 h 4464050"/>
              <a:gd name="connsiteX19" fmla="*/ 1670151 w 4457616"/>
              <a:gd name="connsiteY19" fmla="*/ 0 h 4464050"/>
              <a:gd name="connsiteX20" fmla="*/ 1671547 w 4457616"/>
              <a:gd name="connsiteY20" fmla="*/ 0 h 4464050"/>
              <a:gd name="connsiteX21" fmla="*/ 2172957 w 4457616"/>
              <a:gd name="connsiteY21" fmla="*/ 570628 h 4464050"/>
              <a:gd name="connsiteX22" fmla="*/ 2172957 w 4457616"/>
              <a:gd name="connsiteY22" fmla="*/ 3893320 h 4464050"/>
              <a:gd name="connsiteX23" fmla="*/ 1671456 w 4457616"/>
              <a:gd name="connsiteY23" fmla="*/ 4464050 h 4464050"/>
              <a:gd name="connsiteX24" fmla="*/ 1670151 w 4457616"/>
              <a:gd name="connsiteY24" fmla="*/ 4464050 h 4464050"/>
              <a:gd name="connsiteX25" fmla="*/ 1670151 w 4457616"/>
              <a:gd name="connsiteY25" fmla="*/ 0 h 4464050"/>
              <a:gd name="connsiteX26" fmla="*/ 921588 w 4457616"/>
              <a:gd name="connsiteY26" fmla="*/ 0 h 4464050"/>
              <a:gd name="connsiteX27" fmla="*/ 923341 w 4457616"/>
              <a:gd name="connsiteY27" fmla="*/ 0 h 4464050"/>
              <a:gd name="connsiteX28" fmla="*/ 1553114 w 4457616"/>
              <a:gd name="connsiteY28" fmla="*/ 570628 h 4464050"/>
              <a:gd name="connsiteX29" fmla="*/ 1553114 w 4457616"/>
              <a:gd name="connsiteY29" fmla="*/ 3893320 h 4464050"/>
              <a:gd name="connsiteX30" fmla="*/ 923227 w 4457616"/>
              <a:gd name="connsiteY30" fmla="*/ 4464050 h 4464050"/>
              <a:gd name="connsiteX31" fmla="*/ 921588 w 4457616"/>
              <a:gd name="connsiteY31" fmla="*/ 4464050 h 4464050"/>
              <a:gd name="connsiteX32" fmla="*/ 921588 w 4457616"/>
              <a:gd name="connsiteY32" fmla="*/ 0 h 4464050"/>
              <a:gd name="connsiteX33" fmla="*/ 0 w 4457616"/>
              <a:gd name="connsiteY33" fmla="*/ 4464050 h 4464050"/>
              <a:gd name="connsiteX34" fmla="*/ 5 w 4457616"/>
              <a:gd name="connsiteY34" fmla="*/ 0 h 4464050"/>
              <a:gd name="connsiteX35" fmla="*/ 804649 w 4457616"/>
              <a:gd name="connsiteY35" fmla="*/ 3893419 h 4464050"/>
              <a:gd name="connsiteX36" fmla="*/ 0 w 4457616"/>
              <a:gd name="connsiteY36" fmla="*/ 4464050 h 4464050"/>
              <a:gd name="connsiteX0" fmla="*/ 4457611 w 4457611"/>
              <a:gd name="connsiteY0" fmla="*/ 3569 h 4464050"/>
              <a:gd name="connsiteX1" fmla="*/ 4457611 w 4457611"/>
              <a:gd name="connsiteY1" fmla="*/ 4460478 h 4464050"/>
              <a:gd name="connsiteX2" fmla="*/ 3657999 w 4457611"/>
              <a:gd name="connsiteY2" fmla="*/ 3893419 h 4464050"/>
              <a:gd name="connsiteX3" fmla="*/ 3657999 w 4457611"/>
              <a:gd name="connsiteY3" fmla="*/ 570628 h 4464050"/>
              <a:gd name="connsiteX4" fmla="*/ 4457611 w 4457611"/>
              <a:gd name="connsiteY4" fmla="*/ 3569 h 4464050"/>
              <a:gd name="connsiteX5" fmla="*/ 3539408 w 4457611"/>
              <a:gd name="connsiteY5" fmla="*/ 0 h 4464050"/>
              <a:gd name="connsiteX6" fmla="*/ 3541160 w 4457611"/>
              <a:gd name="connsiteY6" fmla="*/ 0 h 4464050"/>
              <a:gd name="connsiteX7" fmla="*/ 3541160 w 4457611"/>
              <a:gd name="connsiteY7" fmla="*/ 4464050 h 4464050"/>
              <a:gd name="connsiteX8" fmla="*/ 3539411 w 4457611"/>
              <a:gd name="connsiteY8" fmla="*/ 4464050 h 4464050"/>
              <a:gd name="connsiteX9" fmla="*/ 2909633 w 4457611"/>
              <a:gd name="connsiteY9" fmla="*/ 3893419 h 4464050"/>
              <a:gd name="connsiteX10" fmla="*/ 2909633 w 4457611"/>
              <a:gd name="connsiteY10" fmla="*/ 570628 h 4464050"/>
              <a:gd name="connsiteX11" fmla="*/ 3539408 w 4457611"/>
              <a:gd name="connsiteY11" fmla="*/ 0 h 4464050"/>
              <a:gd name="connsiteX12" fmla="*/ 2791201 w 4457611"/>
              <a:gd name="connsiteY12" fmla="*/ 0 h 4464050"/>
              <a:gd name="connsiteX13" fmla="*/ 2792596 w 4457611"/>
              <a:gd name="connsiteY13" fmla="*/ 0 h 4464050"/>
              <a:gd name="connsiteX14" fmla="*/ 2792596 w 4457611"/>
              <a:gd name="connsiteY14" fmla="*/ 4464050 h 4464050"/>
              <a:gd name="connsiteX15" fmla="*/ 2791204 w 4457611"/>
              <a:gd name="connsiteY15" fmla="*/ 4464050 h 4464050"/>
              <a:gd name="connsiteX16" fmla="*/ 2289791 w 4457611"/>
              <a:gd name="connsiteY16" fmla="*/ 3893419 h 4464050"/>
              <a:gd name="connsiteX17" fmla="*/ 2289791 w 4457611"/>
              <a:gd name="connsiteY17" fmla="*/ 570628 h 4464050"/>
              <a:gd name="connsiteX18" fmla="*/ 2791201 w 4457611"/>
              <a:gd name="connsiteY18" fmla="*/ 0 h 4464050"/>
              <a:gd name="connsiteX19" fmla="*/ 1670146 w 4457611"/>
              <a:gd name="connsiteY19" fmla="*/ 0 h 4464050"/>
              <a:gd name="connsiteX20" fmla="*/ 1671542 w 4457611"/>
              <a:gd name="connsiteY20" fmla="*/ 0 h 4464050"/>
              <a:gd name="connsiteX21" fmla="*/ 2172952 w 4457611"/>
              <a:gd name="connsiteY21" fmla="*/ 570628 h 4464050"/>
              <a:gd name="connsiteX22" fmla="*/ 2172952 w 4457611"/>
              <a:gd name="connsiteY22" fmla="*/ 3893320 h 4464050"/>
              <a:gd name="connsiteX23" fmla="*/ 1671451 w 4457611"/>
              <a:gd name="connsiteY23" fmla="*/ 4464050 h 4464050"/>
              <a:gd name="connsiteX24" fmla="*/ 1670146 w 4457611"/>
              <a:gd name="connsiteY24" fmla="*/ 4464050 h 4464050"/>
              <a:gd name="connsiteX25" fmla="*/ 1670146 w 4457611"/>
              <a:gd name="connsiteY25" fmla="*/ 0 h 4464050"/>
              <a:gd name="connsiteX26" fmla="*/ 921583 w 4457611"/>
              <a:gd name="connsiteY26" fmla="*/ 0 h 4464050"/>
              <a:gd name="connsiteX27" fmla="*/ 923336 w 4457611"/>
              <a:gd name="connsiteY27" fmla="*/ 0 h 4464050"/>
              <a:gd name="connsiteX28" fmla="*/ 1553109 w 4457611"/>
              <a:gd name="connsiteY28" fmla="*/ 570628 h 4464050"/>
              <a:gd name="connsiteX29" fmla="*/ 1553109 w 4457611"/>
              <a:gd name="connsiteY29" fmla="*/ 3893320 h 4464050"/>
              <a:gd name="connsiteX30" fmla="*/ 923222 w 4457611"/>
              <a:gd name="connsiteY30" fmla="*/ 4464050 h 4464050"/>
              <a:gd name="connsiteX31" fmla="*/ 921583 w 4457611"/>
              <a:gd name="connsiteY31" fmla="*/ 4464050 h 4464050"/>
              <a:gd name="connsiteX32" fmla="*/ 921583 w 4457611"/>
              <a:gd name="connsiteY32" fmla="*/ 0 h 4464050"/>
              <a:gd name="connsiteX33" fmla="*/ 804644 w 4457611"/>
              <a:gd name="connsiteY33" fmla="*/ 3893419 h 4464050"/>
              <a:gd name="connsiteX34" fmla="*/ 0 w 4457611"/>
              <a:gd name="connsiteY34" fmla="*/ 0 h 4464050"/>
              <a:gd name="connsiteX35" fmla="*/ 804644 w 4457611"/>
              <a:gd name="connsiteY35" fmla="*/ 3893419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0 h 4464050"/>
              <a:gd name="connsiteX27" fmla="*/ 1753 w 3536028"/>
              <a:gd name="connsiteY27" fmla="*/ 0 h 4464050"/>
              <a:gd name="connsiteX28" fmla="*/ 631526 w 3536028"/>
              <a:gd name="connsiteY28" fmla="*/ 570628 h 4464050"/>
              <a:gd name="connsiteX29" fmla="*/ 631526 w 3536028"/>
              <a:gd name="connsiteY29" fmla="*/ 3893320 h 4464050"/>
              <a:gd name="connsiteX30" fmla="*/ 1639 w 3536028"/>
              <a:gd name="connsiteY30" fmla="*/ 4464050 h 4464050"/>
              <a:gd name="connsiteX31" fmla="*/ 0 w 3536028"/>
              <a:gd name="connsiteY31" fmla="*/ 4464050 h 4464050"/>
              <a:gd name="connsiteX32" fmla="*/ 0 w 3536028"/>
              <a:gd name="connsiteY32" fmla="*/ 0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4464050 h 4464050"/>
              <a:gd name="connsiteX27" fmla="*/ 1753 w 3536028"/>
              <a:gd name="connsiteY27" fmla="*/ 0 h 4464050"/>
              <a:gd name="connsiteX28" fmla="*/ 631526 w 3536028"/>
              <a:gd name="connsiteY28" fmla="*/ 570628 h 4464050"/>
              <a:gd name="connsiteX29" fmla="*/ 631526 w 3536028"/>
              <a:gd name="connsiteY29" fmla="*/ 3893320 h 4464050"/>
              <a:gd name="connsiteX30" fmla="*/ 1639 w 3536028"/>
              <a:gd name="connsiteY30" fmla="*/ 4464050 h 4464050"/>
              <a:gd name="connsiteX31" fmla="*/ 0 w 3536028"/>
              <a:gd name="connsiteY31" fmla="*/ 4464050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4464050 h 4464050"/>
              <a:gd name="connsiteX27" fmla="*/ 1753 w 3536028"/>
              <a:gd name="connsiteY27" fmla="*/ 0 h 4464050"/>
              <a:gd name="connsiteX28" fmla="*/ 631526 w 3536028"/>
              <a:gd name="connsiteY28" fmla="*/ 3893320 h 4464050"/>
              <a:gd name="connsiteX29" fmla="*/ 1639 w 3536028"/>
              <a:gd name="connsiteY29" fmla="*/ 4464050 h 4464050"/>
              <a:gd name="connsiteX30" fmla="*/ 0 w 3536028"/>
              <a:gd name="connsiteY30" fmla="*/ 4464050 h 4464050"/>
              <a:gd name="connsiteX0" fmla="*/ 3563155 w 3563155"/>
              <a:gd name="connsiteY0" fmla="*/ 3569 h 4464050"/>
              <a:gd name="connsiteX1" fmla="*/ 3563155 w 3563155"/>
              <a:gd name="connsiteY1" fmla="*/ 4460478 h 4464050"/>
              <a:gd name="connsiteX2" fmla="*/ 2763543 w 3563155"/>
              <a:gd name="connsiteY2" fmla="*/ 3893419 h 4464050"/>
              <a:gd name="connsiteX3" fmla="*/ 2763543 w 3563155"/>
              <a:gd name="connsiteY3" fmla="*/ 570628 h 4464050"/>
              <a:gd name="connsiteX4" fmla="*/ 3563155 w 3563155"/>
              <a:gd name="connsiteY4" fmla="*/ 3569 h 4464050"/>
              <a:gd name="connsiteX5" fmla="*/ 2644952 w 3563155"/>
              <a:gd name="connsiteY5" fmla="*/ 0 h 4464050"/>
              <a:gd name="connsiteX6" fmla="*/ 2646704 w 3563155"/>
              <a:gd name="connsiteY6" fmla="*/ 0 h 4464050"/>
              <a:gd name="connsiteX7" fmla="*/ 2646704 w 3563155"/>
              <a:gd name="connsiteY7" fmla="*/ 4464050 h 4464050"/>
              <a:gd name="connsiteX8" fmla="*/ 2644955 w 3563155"/>
              <a:gd name="connsiteY8" fmla="*/ 4464050 h 4464050"/>
              <a:gd name="connsiteX9" fmla="*/ 2015177 w 3563155"/>
              <a:gd name="connsiteY9" fmla="*/ 3893419 h 4464050"/>
              <a:gd name="connsiteX10" fmla="*/ 2015177 w 3563155"/>
              <a:gd name="connsiteY10" fmla="*/ 570628 h 4464050"/>
              <a:gd name="connsiteX11" fmla="*/ 2644952 w 3563155"/>
              <a:gd name="connsiteY11" fmla="*/ 0 h 4464050"/>
              <a:gd name="connsiteX12" fmla="*/ 1896745 w 3563155"/>
              <a:gd name="connsiteY12" fmla="*/ 0 h 4464050"/>
              <a:gd name="connsiteX13" fmla="*/ 1898140 w 3563155"/>
              <a:gd name="connsiteY13" fmla="*/ 0 h 4464050"/>
              <a:gd name="connsiteX14" fmla="*/ 1898140 w 3563155"/>
              <a:gd name="connsiteY14" fmla="*/ 4464050 h 4464050"/>
              <a:gd name="connsiteX15" fmla="*/ 1896748 w 3563155"/>
              <a:gd name="connsiteY15" fmla="*/ 4464050 h 4464050"/>
              <a:gd name="connsiteX16" fmla="*/ 1395335 w 3563155"/>
              <a:gd name="connsiteY16" fmla="*/ 3893419 h 4464050"/>
              <a:gd name="connsiteX17" fmla="*/ 1395335 w 3563155"/>
              <a:gd name="connsiteY17" fmla="*/ 570628 h 4464050"/>
              <a:gd name="connsiteX18" fmla="*/ 1896745 w 3563155"/>
              <a:gd name="connsiteY18" fmla="*/ 0 h 4464050"/>
              <a:gd name="connsiteX19" fmla="*/ 775690 w 3563155"/>
              <a:gd name="connsiteY19" fmla="*/ 0 h 4464050"/>
              <a:gd name="connsiteX20" fmla="*/ 777086 w 3563155"/>
              <a:gd name="connsiteY20" fmla="*/ 0 h 4464050"/>
              <a:gd name="connsiteX21" fmla="*/ 1278496 w 3563155"/>
              <a:gd name="connsiteY21" fmla="*/ 570628 h 4464050"/>
              <a:gd name="connsiteX22" fmla="*/ 1278496 w 3563155"/>
              <a:gd name="connsiteY22" fmla="*/ 3893320 h 4464050"/>
              <a:gd name="connsiteX23" fmla="*/ 776995 w 3563155"/>
              <a:gd name="connsiteY23" fmla="*/ 4464050 h 4464050"/>
              <a:gd name="connsiteX24" fmla="*/ 775690 w 3563155"/>
              <a:gd name="connsiteY24" fmla="*/ 4464050 h 4464050"/>
              <a:gd name="connsiteX25" fmla="*/ 775690 w 3563155"/>
              <a:gd name="connsiteY25" fmla="*/ 0 h 4464050"/>
              <a:gd name="connsiteX26" fmla="*/ 27127 w 3563155"/>
              <a:gd name="connsiteY26" fmla="*/ 4464050 h 4464050"/>
              <a:gd name="connsiteX27" fmla="*/ 8 w 3563155"/>
              <a:gd name="connsiteY27" fmla="*/ 28872 h 4464050"/>
              <a:gd name="connsiteX28" fmla="*/ 658653 w 3563155"/>
              <a:gd name="connsiteY28" fmla="*/ 3893320 h 4464050"/>
              <a:gd name="connsiteX29" fmla="*/ 28766 w 3563155"/>
              <a:gd name="connsiteY29" fmla="*/ 4464050 h 4464050"/>
              <a:gd name="connsiteX30" fmla="*/ 27127 w 3563155"/>
              <a:gd name="connsiteY30" fmla="*/ 4464050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4464050 h 4464050"/>
              <a:gd name="connsiteX27" fmla="*/ 631526 w 3536028"/>
              <a:gd name="connsiteY27" fmla="*/ 3893320 h 4464050"/>
              <a:gd name="connsiteX28" fmla="*/ 1639 w 3536028"/>
              <a:gd name="connsiteY28" fmla="*/ 4464050 h 4464050"/>
              <a:gd name="connsiteX29" fmla="*/ 0 w 3536028"/>
              <a:gd name="connsiteY29" fmla="*/ 4464050 h 4464050"/>
              <a:gd name="connsiteX0" fmla="*/ 3534389 w 3534389"/>
              <a:gd name="connsiteY0" fmla="*/ 3569 h 4464050"/>
              <a:gd name="connsiteX1" fmla="*/ 3534389 w 3534389"/>
              <a:gd name="connsiteY1" fmla="*/ 4460478 h 4464050"/>
              <a:gd name="connsiteX2" fmla="*/ 2734777 w 3534389"/>
              <a:gd name="connsiteY2" fmla="*/ 3893419 h 4464050"/>
              <a:gd name="connsiteX3" fmla="*/ 2734777 w 3534389"/>
              <a:gd name="connsiteY3" fmla="*/ 570628 h 4464050"/>
              <a:gd name="connsiteX4" fmla="*/ 3534389 w 3534389"/>
              <a:gd name="connsiteY4" fmla="*/ 3569 h 4464050"/>
              <a:gd name="connsiteX5" fmla="*/ 2616186 w 3534389"/>
              <a:gd name="connsiteY5" fmla="*/ 0 h 4464050"/>
              <a:gd name="connsiteX6" fmla="*/ 2617938 w 3534389"/>
              <a:gd name="connsiteY6" fmla="*/ 0 h 4464050"/>
              <a:gd name="connsiteX7" fmla="*/ 2617938 w 3534389"/>
              <a:gd name="connsiteY7" fmla="*/ 4464050 h 4464050"/>
              <a:gd name="connsiteX8" fmla="*/ 2616189 w 3534389"/>
              <a:gd name="connsiteY8" fmla="*/ 4464050 h 4464050"/>
              <a:gd name="connsiteX9" fmla="*/ 1986411 w 3534389"/>
              <a:gd name="connsiteY9" fmla="*/ 3893419 h 4464050"/>
              <a:gd name="connsiteX10" fmla="*/ 1986411 w 3534389"/>
              <a:gd name="connsiteY10" fmla="*/ 570628 h 4464050"/>
              <a:gd name="connsiteX11" fmla="*/ 2616186 w 3534389"/>
              <a:gd name="connsiteY11" fmla="*/ 0 h 4464050"/>
              <a:gd name="connsiteX12" fmla="*/ 1867979 w 3534389"/>
              <a:gd name="connsiteY12" fmla="*/ 0 h 4464050"/>
              <a:gd name="connsiteX13" fmla="*/ 1869374 w 3534389"/>
              <a:gd name="connsiteY13" fmla="*/ 0 h 4464050"/>
              <a:gd name="connsiteX14" fmla="*/ 1869374 w 3534389"/>
              <a:gd name="connsiteY14" fmla="*/ 4464050 h 4464050"/>
              <a:gd name="connsiteX15" fmla="*/ 1867982 w 3534389"/>
              <a:gd name="connsiteY15" fmla="*/ 4464050 h 4464050"/>
              <a:gd name="connsiteX16" fmla="*/ 1366569 w 3534389"/>
              <a:gd name="connsiteY16" fmla="*/ 3893419 h 4464050"/>
              <a:gd name="connsiteX17" fmla="*/ 1366569 w 3534389"/>
              <a:gd name="connsiteY17" fmla="*/ 570628 h 4464050"/>
              <a:gd name="connsiteX18" fmla="*/ 1867979 w 3534389"/>
              <a:gd name="connsiteY18" fmla="*/ 0 h 4464050"/>
              <a:gd name="connsiteX19" fmla="*/ 746924 w 3534389"/>
              <a:gd name="connsiteY19" fmla="*/ 0 h 4464050"/>
              <a:gd name="connsiteX20" fmla="*/ 748320 w 3534389"/>
              <a:gd name="connsiteY20" fmla="*/ 0 h 4464050"/>
              <a:gd name="connsiteX21" fmla="*/ 1249730 w 3534389"/>
              <a:gd name="connsiteY21" fmla="*/ 570628 h 4464050"/>
              <a:gd name="connsiteX22" fmla="*/ 1249730 w 3534389"/>
              <a:gd name="connsiteY22" fmla="*/ 3893320 h 4464050"/>
              <a:gd name="connsiteX23" fmla="*/ 748229 w 3534389"/>
              <a:gd name="connsiteY23" fmla="*/ 4464050 h 4464050"/>
              <a:gd name="connsiteX24" fmla="*/ 746924 w 3534389"/>
              <a:gd name="connsiteY24" fmla="*/ 4464050 h 4464050"/>
              <a:gd name="connsiteX25" fmla="*/ 746924 w 3534389"/>
              <a:gd name="connsiteY25" fmla="*/ 0 h 4464050"/>
              <a:gd name="connsiteX26" fmla="*/ 0 w 3534389"/>
              <a:gd name="connsiteY26" fmla="*/ 4464050 h 4464050"/>
              <a:gd name="connsiteX27" fmla="*/ 629887 w 3534389"/>
              <a:gd name="connsiteY27" fmla="*/ 3893320 h 4464050"/>
              <a:gd name="connsiteX28" fmla="*/ 0 w 3534389"/>
              <a:gd name="connsiteY28" fmla="*/ 446405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0 h 4464050"/>
              <a:gd name="connsiteX20" fmla="*/ 1396 w 2787465"/>
              <a:gd name="connsiteY20" fmla="*/ 0 h 4464050"/>
              <a:gd name="connsiteX21" fmla="*/ 502806 w 2787465"/>
              <a:gd name="connsiteY21" fmla="*/ 570628 h 4464050"/>
              <a:gd name="connsiteX22" fmla="*/ 502806 w 2787465"/>
              <a:gd name="connsiteY22" fmla="*/ 3893320 h 4464050"/>
              <a:gd name="connsiteX23" fmla="*/ 1305 w 2787465"/>
              <a:gd name="connsiteY23" fmla="*/ 4464050 h 4464050"/>
              <a:gd name="connsiteX24" fmla="*/ 0 w 2787465"/>
              <a:gd name="connsiteY24" fmla="*/ 4464050 h 4464050"/>
              <a:gd name="connsiteX25" fmla="*/ 0 w 2787465"/>
              <a:gd name="connsiteY25" fmla="*/ 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0 h 4464050"/>
              <a:gd name="connsiteX20" fmla="*/ 1396 w 2787465"/>
              <a:gd name="connsiteY20" fmla="*/ 0 h 4464050"/>
              <a:gd name="connsiteX21" fmla="*/ 502806 w 2787465"/>
              <a:gd name="connsiteY21" fmla="*/ 3893320 h 4464050"/>
              <a:gd name="connsiteX22" fmla="*/ 1305 w 2787465"/>
              <a:gd name="connsiteY22" fmla="*/ 4464050 h 4464050"/>
              <a:gd name="connsiteX23" fmla="*/ 0 w 2787465"/>
              <a:gd name="connsiteY23" fmla="*/ 4464050 h 4464050"/>
              <a:gd name="connsiteX24" fmla="*/ 0 w 2787465"/>
              <a:gd name="connsiteY24" fmla="*/ 0 h 4464050"/>
              <a:gd name="connsiteX0" fmla="*/ 2809119 w 2809119"/>
              <a:gd name="connsiteY0" fmla="*/ 3569 h 4464050"/>
              <a:gd name="connsiteX1" fmla="*/ 2809119 w 2809119"/>
              <a:gd name="connsiteY1" fmla="*/ 4460478 h 4464050"/>
              <a:gd name="connsiteX2" fmla="*/ 2009507 w 2809119"/>
              <a:gd name="connsiteY2" fmla="*/ 3893419 h 4464050"/>
              <a:gd name="connsiteX3" fmla="*/ 2009507 w 2809119"/>
              <a:gd name="connsiteY3" fmla="*/ 570628 h 4464050"/>
              <a:gd name="connsiteX4" fmla="*/ 2809119 w 2809119"/>
              <a:gd name="connsiteY4" fmla="*/ 3569 h 4464050"/>
              <a:gd name="connsiteX5" fmla="*/ 1890916 w 2809119"/>
              <a:gd name="connsiteY5" fmla="*/ 0 h 4464050"/>
              <a:gd name="connsiteX6" fmla="*/ 1892668 w 2809119"/>
              <a:gd name="connsiteY6" fmla="*/ 0 h 4464050"/>
              <a:gd name="connsiteX7" fmla="*/ 1892668 w 2809119"/>
              <a:gd name="connsiteY7" fmla="*/ 4464050 h 4464050"/>
              <a:gd name="connsiteX8" fmla="*/ 1890919 w 2809119"/>
              <a:gd name="connsiteY8" fmla="*/ 4464050 h 4464050"/>
              <a:gd name="connsiteX9" fmla="*/ 1261141 w 2809119"/>
              <a:gd name="connsiteY9" fmla="*/ 3893419 h 4464050"/>
              <a:gd name="connsiteX10" fmla="*/ 1261141 w 2809119"/>
              <a:gd name="connsiteY10" fmla="*/ 570628 h 4464050"/>
              <a:gd name="connsiteX11" fmla="*/ 1890916 w 2809119"/>
              <a:gd name="connsiteY11" fmla="*/ 0 h 4464050"/>
              <a:gd name="connsiteX12" fmla="*/ 1142709 w 2809119"/>
              <a:gd name="connsiteY12" fmla="*/ 0 h 4464050"/>
              <a:gd name="connsiteX13" fmla="*/ 1144104 w 2809119"/>
              <a:gd name="connsiteY13" fmla="*/ 0 h 4464050"/>
              <a:gd name="connsiteX14" fmla="*/ 1144104 w 2809119"/>
              <a:gd name="connsiteY14" fmla="*/ 4464050 h 4464050"/>
              <a:gd name="connsiteX15" fmla="*/ 1142712 w 2809119"/>
              <a:gd name="connsiteY15" fmla="*/ 4464050 h 4464050"/>
              <a:gd name="connsiteX16" fmla="*/ 641299 w 2809119"/>
              <a:gd name="connsiteY16" fmla="*/ 3893419 h 4464050"/>
              <a:gd name="connsiteX17" fmla="*/ 641299 w 2809119"/>
              <a:gd name="connsiteY17" fmla="*/ 570628 h 4464050"/>
              <a:gd name="connsiteX18" fmla="*/ 1142709 w 2809119"/>
              <a:gd name="connsiteY18" fmla="*/ 0 h 4464050"/>
              <a:gd name="connsiteX19" fmla="*/ 0 w 2809119"/>
              <a:gd name="connsiteY19" fmla="*/ 7219 h 4464050"/>
              <a:gd name="connsiteX20" fmla="*/ 23050 w 2809119"/>
              <a:gd name="connsiteY20" fmla="*/ 0 h 4464050"/>
              <a:gd name="connsiteX21" fmla="*/ 524460 w 2809119"/>
              <a:gd name="connsiteY21" fmla="*/ 3893320 h 4464050"/>
              <a:gd name="connsiteX22" fmla="*/ 22959 w 2809119"/>
              <a:gd name="connsiteY22" fmla="*/ 4464050 h 4464050"/>
              <a:gd name="connsiteX23" fmla="*/ 21654 w 2809119"/>
              <a:gd name="connsiteY23" fmla="*/ 4464050 h 4464050"/>
              <a:gd name="connsiteX24" fmla="*/ 0 w 2809119"/>
              <a:gd name="connsiteY24" fmla="*/ 7219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4464050 h 4464050"/>
              <a:gd name="connsiteX20" fmla="*/ 1396 w 2787465"/>
              <a:gd name="connsiteY20" fmla="*/ 0 h 4464050"/>
              <a:gd name="connsiteX21" fmla="*/ 502806 w 2787465"/>
              <a:gd name="connsiteY21" fmla="*/ 3893320 h 4464050"/>
              <a:gd name="connsiteX22" fmla="*/ 1305 w 2787465"/>
              <a:gd name="connsiteY22" fmla="*/ 4464050 h 4464050"/>
              <a:gd name="connsiteX23" fmla="*/ 0 w 2787465"/>
              <a:gd name="connsiteY23" fmla="*/ 446405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4464050 h 4464050"/>
              <a:gd name="connsiteX20" fmla="*/ 1396 w 2787465"/>
              <a:gd name="connsiteY20" fmla="*/ 0 h 4464050"/>
              <a:gd name="connsiteX21" fmla="*/ 1305 w 2787465"/>
              <a:gd name="connsiteY21" fmla="*/ 4464050 h 4464050"/>
              <a:gd name="connsiteX22" fmla="*/ 0 w 2787465"/>
              <a:gd name="connsiteY22" fmla="*/ 446405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4464050 h 4464050"/>
              <a:gd name="connsiteX20" fmla="*/ 1305 w 2787465"/>
              <a:gd name="connsiteY20" fmla="*/ 4464050 h 4464050"/>
              <a:gd name="connsiteX21" fmla="*/ 0 w 2787465"/>
              <a:gd name="connsiteY21" fmla="*/ 4464050 h 4464050"/>
              <a:gd name="connsiteX0" fmla="*/ 2167820 w 2167820"/>
              <a:gd name="connsiteY0" fmla="*/ 3569 h 4464050"/>
              <a:gd name="connsiteX1" fmla="*/ 2167820 w 2167820"/>
              <a:gd name="connsiteY1" fmla="*/ 4460478 h 4464050"/>
              <a:gd name="connsiteX2" fmla="*/ 1368208 w 2167820"/>
              <a:gd name="connsiteY2" fmla="*/ 3893419 h 4464050"/>
              <a:gd name="connsiteX3" fmla="*/ 1368208 w 2167820"/>
              <a:gd name="connsiteY3" fmla="*/ 570628 h 4464050"/>
              <a:gd name="connsiteX4" fmla="*/ 2167820 w 2167820"/>
              <a:gd name="connsiteY4" fmla="*/ 3569 h 4464050"/>
              <a:gd name="connsiteX5" fmla="*/ 1249617 w 2167820"/>
              <a:gd name="connsiteY5" fmla="*/ 0 h 4464050"/>
              <a:gd name="connsiteX6" fmla="*/ 1251369 w 2167820"/>
              <a:gd name="connsiteY6" fmla="*/ 0 h 4464050"/>
              <a:gd name="connsiteX7" fmla="*/ 1251369 w 2167820"/>
              <a:gd name="connsiteY7" fmla="*/ 4464050 h 4464050"/>
              <a:gd name="connsiteX8" fmla="*/ 1249620 w 2167820"/>
              <a:gd name="connsiteY8" fmla="*/ 4464050 h 4464050"/>
              <a:gd name="connsiteX9" fmla="*/ 619842 w 2167820"/>
              <a:gd name="connsiteY9" fmla="*/ 3893419 h 4464050"/>
              <a:gd name="connsiteX10" fmla="*/ 619842 w 2167820"/>
              <a:gd name="connsiteY10" fmla="*/ 570628 h 4464050"/>
              <a:gd name="connsiteX11" fmla="*/ 1249617 w 2167820"/>
              <a:gd name="connsiteY11" fmla="*/ 0 h 4464050"/>
              <a:gd name="connsiteX12" fmla="*/ 501410 w 2167820"/>
              <a:gd name="connsiteY12" fmla="*/ 0 h 4464050"/>
              <a:gd name="connsiteX13" fmla="*/ 502805 w 2167820"/>
              <a:gd name="connsiteY13" fmla="*/ 0 h 4464050"/>
              <a:gd name="connsiteX14" fmla="*/ 502805 w 2167820"/>
              <a:gd name="connsiteY14" fmla="*/ 4464050 h 4464050"/>
              <a:gd name="connsiteX15" fmla="*/ 501413 w 2167820"/>
              <a:gd name="connsiteY15" fmla="*/ 4464050 h 4464050"/>
              <a:gd name="connsiteX16" fmla="*/ 0 w 2167820"/>
              <a:gd name="connsiteY16" fmla="*/ 3893419 h 4464050"/>
              <a:gd name="connsiteX17" fmla="*/ 0 w 2167820"/>
              <a:gd name="connsiteY17" fmla="*/ 570628 h 4464050"/>
              <a:gd name="connsiteX18" fmla="*/ 501410 w 2167820"/>
              <a:gd name="connsiteY18" fmla="*/ 0 h 446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167820" h="4464050">
                <a:moveTo>
                  <a:pt x="2167820" y="3569"/>
                </a:moveTo>
                <a:lnTo>
                  <a:pt x="2167820" y="4460478"/>
                </a:lnTo>
                <a:lnTo>
                  <a:pt x="1368208" y="3893419"/>
                </a:lnTo>
                <a:lnTo>
                  <a:pt x="1368208" y="570628"/>
                </a:lnTo>
                <a:lnTo>
                  <a:pt x="2167820" y="3569"/>
                </a:lnTo>
                <a:close/>
                <a:moveTo>
                  <a:pt x="1249617" y="0"/>
                </a:moveTo>
                <a:lnTo>
                  <a:pt x="1251369" y="0"/>
                </a:lnTo>
                <a:lnTo>
                  <a:pt x="1251369" y="4464050"/>
                </a:lnTo>
                <a:lnTo>
                  <a:pt x="1249620" y="4464050"/>
                </a:lnTo>
                <a:lnTo>
                  <a:pt x="619842" y="3893419"/>
                </a:lnTo>
                <a:lnTo>
                  <a:pt x="619842" y="570628"/>
                </a:lnTo>
                <a:lnTo>
                  <a:pt x="1249617" y="0"/>
                </a:lnTo>
                <a:close/>
                <a:moveTo>
                  <a:pt x="501410" y="0"/>
                </a:moveTo>
                <a:lnTo>
                  <a:pt x="502805" y="0"/>
                </a:lnTo>
                <a:lnTo>
                  <a:pt x="502805" y="4464050"/>
                </a:lnTo>
                <a:lnTo>
                  <a:pt x="501413" y="4464050"/>
                </a:lnTo>
                <a:lnTo>
                  <a:pt x="0" y="3893419"/>
                </a:lnTo>
                <a:lnTo>
                  <a:pt x="0" y="570628"/>
                </a:lnTo>
                <a:lnTo>
                  <a:pt x="50141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insert picture</a:t>
            </a:r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CE77EB60-ACA1-6112-BDA5-237DF487574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81765" y="428625"/>
            <a:ext cx="1912188" cy="3924299"/>
          </a:xfrm>
          <a:custGeom>
            <a:avLst/>
            <a:gdLst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3541647 w 4459850"/>
              <a:gd name="connsiteY4" fmla="*/ 0 h 4464050"/>
              <a:gd name="connsiteX5" fmla="*/ 3543399 w 4459850"/>
              <a:gd name="connsiteY5" fmla="*/ 0 h 4464050"/>
              <a:gd name="connsiteX6" fmla="*/ 3543399 w 4459850"/>
              <a:gd name="connsiteY6" fmla="*/ 4464050 h 4464050"/>
              <a:gd name="connsiteX7" fmla="*/ 3541650 w 4459850"/>
              <a:gd name="connsiteY7" fmla="*/ 4464050 h 4464050"/>
              <a:gd name="connsiteX8" fmla="*/ 2911872 w 4459850"/>
              <a:gd name="connsiteY8" fmla="*/ 3893419 h 4464050"/>
              <a:gd name="connsiteX9" fmla="*/ 2911872 w 4459850"/>
              <a:gd name="connsiteY9" fmla="*/ 570628 h 4464050"/>
              <a:gd name="connsiteX10" fmla="*/ 2793440 w 4459850"/>
              <a:gd name="connsiteY10" fmla="*/ 0 h 4464050"/>
              <a:gd name="connsiteX11" fmla="*/ 2794835 w 4459850"/>
              <a:gd name="connsiteY11" fmla="*/ 0 h 4464050"/>
              <a:gd name="connsiteX12" fmla="*/ 2794835 w 4459850"/>
              <a:gd name="connsiteY12" fmla="*/ 4464050 h 4464050"/>
              <a:gd name="connsiteX13" fmla="*/ 2793443 w 4459850"/>
              <a:gd name="connsiteY13" fmla="*/ 4464050 h 4464050"/>
              <a:gd name="connsiteX14" fmla="*/ 2292030 w 4459850"/>
              <a:gd name="connsiteY14" fmla="*/ 3893419 h 4464050"/>
              <a:gd name="connsiteX15" fmla="*/ 2292030 w 4459850"/>
              <a:gd name="connsiteY15" fmla="*/ 570628 h 4464050"/>
              <a:gd name="connsiteX16" fmla="*/ 1672385 w 4459850"/>
              <a:gd name="connsiteY16" fmla="*/ 0 h 4464050"/>
              <a:gd name="connsiteX17" fmla="*/ 1673781 w 4459850"/>
              <a:gd name="connsiteY17" fmla="*/ 0 h 4464050"/>
              <a:gd name="connsiteX18" fmla="*/ 2175191 w 4459850"/>
              <a:gd name="connsiteY18" fmla="*/ 570628 h 4464050"/>
              <a:gd name="connsiteX19" fmla="*/ 2175191 w 4459850"/>
              <a:gd name="connsiteY19" fmla="*/ 3893320 h 4464050"/>
              <a:gd name="connsiteX20" fmla="*/ 1673690 w 4459850"/>
              <a:gd name="connsiteY20" fmla="*/ 4464050 h 4464050"/>
              <a:gd name="connsiteX21" fmla="*/ 1672385 w 4459850"/>
              <a:gd name="connsiteY21" fmla="*/ 4464050 h 4464050"/>
              <a:gd name="connsiteX22" fmla="*/ 923822 w 4459850"/>
              <a:gd name="connsiteY22" fmla="*/ 0 h 4464050"/>
              <a:gd name="connsiteX23" fmla="*/ 925575 w 4459850"/>
              <a:gd name="connsiteY23" fmla="*/ 0 h 4464050"/>
              <a:gd name="connsiteX24" fmla="*/ 1555348 w 4459850"/>
              <a:gd name="connsiteY24" fmla="*/ 570628 h 4464050"/>
              <a:gd name="connsiteX25" fmla="*/ 1555348 w 4459850"/>
              <a:gd name="connsiteY25" fmla="*/ 3893320 h 4464050"/>
              <a:gd name="connsiteX26" fmla="*/ 925461 w 4459850"/>
              <a:gd name="connsiteY26" fmla="*/ 4464050 h 4464050"/>
              <a:gd name="connsiteX27" fmla="*/ 923822 w 4459850"/>
              <a:gd name="connsiteY27" fmla="*/ 4464050 h 4464050"/>
              <a:gd name="connsiteX28" fmla="*/ 0 w 4459850"/>
              <a:gd name="connsiteY28" fmla="*/ 0 h 4464050"/>
              <a:gd name="connsiteX29" fmla="*/ 2239 w 4459850"/>
              <a:gd name="connsiteY29" fmla="*/ 0 h 4464050"/>
              <a:gd name="connsiteX30" fmla="*/ 806883 w 4459850"/>
              <a:gd name="connsiteY30" fmla="*/ 570628 h 4464050"/>
              <a:gd name="connsiteX31" fmla="*/ 806883 w 4459850"/>
              <a:gd name="connsiteY31" fmla="*/ 3893419 h 4464050"/>
              <a:gd name="connsiteX32" fmla="*/ 2234 w 4459850"/>
              <a:gd name="connsiteY32" fmla="*/ 4464050 h 4464050"/>
              <a:gd name="connsiteX33" fmla="*/ 0 w 4459850"/>
              <a:gd name="connsiteY33" fmla="*/ 446405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292030 w 4459850"/>
              <a:gd name="connsiteY12" fmla="*/ 570628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2292030 w 4459850"/>
              <a:gd name="connsiteY17" fmla="*/ 570628 h 4464050"/>
              <a:gd name="connsiteX18" fmla="*/ 1672385 w 4459850"/>
              <a:gd name="connsiteY18" fmla="*/ 0 h 4464050"/>
              <a:gd name="connsiteX19" fmla="*/ 1673781 w 4459850"/>
              <a:gd name="connsiteY19" fmla="*/ 0 h 4464050"/>
              <a:gd name="connsiteX20" fmla="*/ 2175191 w 4459850"/>
              <a:gd name="connsiteY20" fmla="*/ 570628 h 4464050"/>
              <a:gd name="connsiteX21" fmla="*/ 2175191 w 4459850"/>
              <a:gd name="connsiteY21" fmla="*/ 3893320 h 4464050"/>
              <a:gd name="connsiteX22" fmla="*/ 1673690 w 4459850"/>
              <a:gd name="connsiteY22" fmla="*/ 4464050 h 4464050"/>
              <a:gd name="connsiteX23" fmla="*/ 1672385 w 4459850"/>
              <a:gd name="connsiteY23" fmla="*/ 4464050 h 4464050"/>
              <a:gd name="connsiteX24" fmla="*/ 1672385 w 4459850"/>
              <a:gd name="connsiteY24" fmla="*/ 0 h 4464050"/>
              <a:gd name="connsiteX25" fmla="*/ 923822 w 4459850"/>
              <a:gd name="connsiteY25" fmla="*/ 0 h 4464050"/>
              <a:gd name="connsiteX26" fmla="*/ 925575 w 4459850"/>
              <a:gd name="connsiteY26" fmla="*/ 0 h 4464050"/>
              <a:gd name="connsiteX27" fmla="*/ 1555348 w 4459850"/>
              <a:gd name="connsiteY27" fmla="*/ 570628 h 4464050"/>
              <a:gd name="connsiteX28" fmla="*/ 1555348 w 4459850"/>
              <a:gd name="connsiteY28" fmla="*/ 3893320 h 4464050"/>
              <a:gd name="connsiteX29" fmla="*/ 925461 w 4459850"/>
              <a:gd name="connsiteY29" fmla="*/ 4464050 h 4464050"/>
              <a:gd name="connsiteX30" fmla="*/ 923822 w 4459850"/>
              <a:gd name="connsiteY30" fmla="*/ 4464050 h 4464050"/>
              <a:gd name="connsiteX31" fmla="*/ 923822 w 4459850"/>
              <a:gd name="connsiteY31" fmla="*/ 0 h 4464050"/>
              <a:gd name="connsiteX32" fmla="*/ 0 w 4459850"/>
              <a:gd name="connsiteY32" fmla="*/ 0 h 4464050"/>
              <a:gd name="connsiteX33" fmla="*/ 2239 w 4459850"/>
              <a:gd name="connsiteY33" fmla="*/ 0 h 4464050"/>
              <a:gd name="connsiteX34" fmla="*/ 806883 w 4459850"/>
              <a:gd name="connsiteY34" fmla="*/ 570628 h 4464050"/>
              <a:gd name="connsiteX35" fmla="*/ 806883 w 4459850"/>
              <a:gd name="connsiteY35" fmla="*/ 3893419 h 4464050"/>
              <a:gd name="connsiteX36" fmla="*/ 2234 w 4459850"/>
              <a:gd name="connsiteY36" fmla="*/ 4464050 h 4464050"/>
              <a:gd name="connsiteX37" fmla="*/ 0 w 4459850"/>
              <a:gd name="connsiteY37" fmla="*/ 4464050 h 4464050"/>
              <a:gd name="connsiteX38" fmla="*/ 0 w 4459850"/>
              <a:gd name="connsiteY38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292030 w 4459850"/>
              <a:gd name="connsiteY12" fmla="*/ 3893419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1672385 w 4459850"/>
              <a:gd name="connsiteY17" fmla="*/ 0 h 4464050"/>
              <a:gd name="connsiteX18" fmla="*/ 1673781 w 4459850"/>
              <a:gd name="connsiteY18" fmla="*/ 0 h 4464050"/>
              <a:gd name="connsiteX19" fmla="*/ 2175191 w 4459850"/>
              <a:gd name="connsiteY19" fmla="*/ 570628 h 4464050"/>
              <a:gd name="connsiteX20" fmla="*/ 2175191 w 4459850"/>
              <a:gd name="connsiteY20" fmla="*/ 3893320 h 4464050"/>
              <a:gd name="connsiteX21" fmla="*/ 1673690 w 4459850"/>
              <a:gd name="connsiteY21" fmla="*/ 4464050 h 4464050"/>
              <a:gd name="connsiteX22" fmla="*/ 1672385 w 4459850"/>
              <a:gd name="connsiteY22" fmla="*/ 4464050 h 4464050"/>
              <a:gd name="connsiteX23" fmla="*/ 1672385 w 4459850"/>
              <a:gd name="connsiteY23" fmla="*/ 0 h 4464050"/>
              <a:gd name="connsiteX24" fmla="*/ 923822 w 4459850"/>
              <a:gd name="connsiteY24" fmla="*/ 0 h 4464050"/>
              <a:gd name="connsiteX25" fmla="*/ 925575 w 4459850"/>
              <a:gd name="connsiteY25" fmla="*/ 0 h 4464050"/>
              <a:gd name="connsiteX26" fmla="*/ 1555348 w 4459850"/>
              <a:gd name="connsiteY26" fmla="*/ 570628 h 4464050"/>
              <a:gd name="connsiteX27" fmla="*/ 1555348 w 4459850"/>
              <a:gd name="connsiteY27" fmla="*/ 3893320 h 4464050"/>
              <a:gd name="connsiteX28" fmla="*/ 925461 w 4459850"/>
              <a:gd name="connsiteY28" fmla="*/ 4464050 h 4464050"/>
              <a:gd name="connsiteX29" fmla="*/ 923822 w 4459850"/>
              <a:gd name="connsiteY29" fmla="*/ 4464050 h 4464050"/>
              <a:gd name="connsiteX30" fmla="*/ 923822 w 4459850"/>
              <a:gd name="connsiteY30" fmla="*/ 0 h 4464050"/>
              <a:gd name="connsiteX31" fmla="*/ 0 w 4459850"/>
              <a:gd name="connsiteY31" fmla="*/ 0 h 4464050"/>
              <a:gd name="connsiteX32" fmla="*/ 2239 w 4459850"/>
              <a:gd name="connsiteY32" fmla="*/ 0 h 4464050"/>
              <a:gd name="connsiteX33" fmla="*/ 806883 w 4459850"/>
              <a:gd name="connsiteY33" fmla="*/ 570628 h 4464050"/>
              <a:gd name="connsiteX34" fmla="*/ 806883 w 4459850"/>
              <a:gd name="connsiteY34" fmla="*/ 3893419 h 4464050"/>
              <a:gd name="connsiteX35" fmla="*/ 2234 w 4459850"/>
              <a:gd name="connsiteY35" fmla="*/ 4464050 h 4464050"/>
              <a:gd name="connsiteX36" fmla="*/ 0 w 4459850"/>
              <a:gd name="connsiteY36" fmla="*/ 4464050 h 4464050"/>
              <a:gd name="connsiteX37" fmla="*/ 0 w 4459850"/>
              <a:gd name="connsiteY37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292030 w 4459850"/>
              <a:gd name="connsiteY12" fmla="*/ 3893419 h 4464050"/>
              <a:gd name="connsiteX13" fmla="*/ 2794835 w 4459850"/>
              <a:gd name="connsiteY13" fmla="*/ 4464050 h 4464050"/>
              <a:gd name="connsiteX14" fmla="*/ 2793443 w 4459850"/>
              <a:gd name="connsiteY14" fmla="*/ 4464050 h 4464050"/>
              <a:gd name="connsiteX15" fmla="*/ 2292030 w 4459850"/>
              <a:gd name="connsiteY15" fmla="*/ 3893419 h 4464050"/>
              <a:gd name="connsiteX16" fmla="*/ 1672385 w 4459850"/>
              <a:gd name="connsiteY16" fmla="*/ 0 h 4464050"/>
              <a:gd name="connsiteX17" fmla="*/ 1673781 w 4459850"/>
              <a:gd name="connsiteY17" fmla="*/ 0 h 4464050"/>
              <a:gd name="connsiteX18" fmla="*/ 2175191 w 4459850"/>
              <a:gd name="connsiteY18" fmla="*/ 570628 h 4464050"/>
              <a:gd name="connsiteX19" fmla="*/ 2175191 w 4459850"/>
              <a:gd name="connsiteY19" fmla="*/ 3893320 h 4464050"/>
              <a:gd name="connsiteX20" fmla="*/ 1673690 w 4459850"/>
              <a:gd name="connsiteY20" fmla="*/ 4464050 h 4464050"/>
              <a:gd name="connsiteX21" fmla="*/ 1672385 w 4459850"/>
              <a:gd name="connsiteY21" fmla="*/ 4464050 h 4464050"/>
              <a:gd name="connsiteX22" fmla="*/ 1672385 w 4459850"/>
              <a:gd name="connsiteY22" fmla="*/ 0 h 4464050"/>
              <a:gd name="connsiteX23" fmla="*/ 923822 w 4459850"/>
              <a:gd name="connsiteY23" fmla="*/ 0 h 4464050"/>
              <a:gd name="connsiteX24" fmla="*/ 925575 w 4459850"/>
              <a:gd name="connsiteY24" fmla="*/ 0 h 4464050"/>
              <a:gd name="connsiteX25" fmla="*/ 1555348 w 4459850"/>
              <a:gd name="connsiteY25" fmla="*/ 570628 h 4464050"/>
              <a:gd name="connsiteX26" fmla="*/ 1555348 w 4459850"/>
              <a:gd name="connsiteY26" fmla="*/ 3893320 h 4464050"/>
              <a:gd name="connsiteX27" fmla="*/ 925461 w 4459850"/>
              <a:gd name="connsiteY27" fmla="*/ 4464050 h 4464050"/>
              <a:gd name="connsiteX28" fmla="*/ 923822 w 4459850"/>
              <a:gd name="connsiteY28" fmla="*/ 4464050 h 4464050"/>
              <a:gd name="connsiteX29" fmla="*/ 923822 w 4459850"/>
              <a:gd name="connsiteY29" fmla="*/ 0 h 4464050"/>
              <a:gd name="connsiteX30" fmla="*/ 0 w 4459850"/>
              <a:gd name="connsiteY30" fmla="*/ 0 h 4464050"/>
              <a:gd name="connsiteX31" fmla="*/ 2239 w 4459850"/>
              <a:gd name="connsiteY31" fmla="*/ 0 h 4464050"/>
              <a:gd name="connsiteX32" fmla="*/ 806883 w 4459850"/>
              <a:gd name="connsiteY32" fmla="*/ 570628 h 4464050"/>
              <a:gd name="connsiteX33" fmla="*/ 806883 w 4459850"/>
              <a:gd name="connsiteY33" fmla="*/ 3893419 h 4464050"/>
              <a:gd name="connsiteX34" fmla="*/ 2234 w 4459850"/>
              <a:gd name="connsiteY34" fmla="*/ 4464050 h 4464050"/>
              <a:gd name="connsiteX35" fmla="*/ 0 w 4459850"/>
              <a:gd name="connsiteY35" fmla="*/ 4464050 h 4464050"/>
              <a:gd name="connsiteX36" fmla="*/ 0 w 4459850"/>
              <a:gd name="connsiteY36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793443 w 4459850"/>
              <a:gd name="connsiteY12" fmla="*/ 4464050 h 4464050"/>
              <a:gd name="connsiteX13" fmla="*/ 2794835 w 4459850"/>
              <a:gd name="connsiteY13" fmla="*/ 4464050 h 4464050"/>
              <a:gd name="connsiteX14" fmla="*/ 2793443 w 4459850"/>
              <a:gd name="connsiteY14" fmla="*/ 4464050 h 4464050"/>
              <a:gd name="connsiteX15" fmla="*/ 1672385 w 4459850"/>
              <a:gd name="connsiteY15" fmla="*/ 0 h 4464050"/>
              <a:gd name="connsiteX16" fmla="*/ 1673781 w 4459850"/>
              <a:gd name="connsiteY16" fmla="*/ 0 h 4464050"/>
              <a:gd name="connsiteX17" fmla="*/ 2175191 w 4459850"/>
              <a:gd name="connsiteY17" fmla="*/ 570628 h 4464050"/>
              <a:gd name="connsiteX18" fmla="*/ 2175191 w 4459850"/>
              <a:gd name="connsiteY18" fmla="*/ 3893320 h 4464050"/>
              <a:gd name="connsiteX19" fmla="*/ 1673690 w 4459850"/>
              <a:gd name="connsiteY19" fmla="*/ 4464050 h 4464050"/>
              <a:gd name="connsiteX20" fmla="*/ 1672385 w 4459850"/>
              <a:gd name="connsiteY20" fmla="*/ 4464050 h 4464050"/>
              <a:gd name="connsiteX21" fmla="*/ 1672385 w 4459850"/>
              <a:gd name="connsiteY21" fmla="*/ 0 h 4464050"/>
              <a:gd name="connsiteX22" fmla="*/ 923822 w 4459850"/>
              <a:gd name="connsiteY22" fmla="*/ 0 h 4464050"/>
              <a:gd name="connsiteX23" fmla="*/ 925575 w 4459850"/>
              <a:gd name="connsiteY23" fmla="*/ 0 h 4464050"/>
              <a:gd name="connsiteX24" fmla="*/ 1555348 w 4459850"/>
              <a:gd name="connsiteY24" fmla="*/ 570628 h 4464050"/>
              <a:gd name="connsiteX25" fmla="*/ 1555348 w 4459850"/>
              <a:gd name="connsiteY25" fmla="*/ 3893320 h 4464050"/>
              <a:gd name="connsiteX26" fmla="*/ 925461 w 4459850"/>
              <a:gd name="connsiteY26" fmla="*/ 4464050 h 4464050"/>
              <a:gd name="connsiteX27" fmla="*/ 923822 w 4459850"/>
              <a:gd name="connsiteY27" fmla="*/ 4464050 h 4464050"/>
              <a:gd name="connsiteX28" fmla="*/ 923822 w 4459850"/>
              <a:gd name="connsiteY28" fmla="*/ 0 h 4464050"/>
              <a:gd name="connsiteX29" fmla="*/ 0 w 4459850"/>
              <a:gd name="connsiteY29" fmla="*/ 0 h 4464050"/>
              <a:gd name="connsiteX30" fmla="*/ 2239 w 4459850"/>
              <a:gd name="connsiteY30" fmla="*/ 0 h 4464050"/>
              <a:gd name="connsiteX31" fmla="*/ 806883 w 4459850"/>
              <a:gd name="connsiteY31" fmla="*/ 570628 h 4464050"/>
              <a:gd name="connsiteX32" fmla="*/ 806883 w 4459850"/>
              <a:gd name="connsiteY32" fmla="*/ 3893419 h 4464050"/>
              <a:gd name="connsiteX33" fmla="*/ 2234 w 4459850"/>
              <a:gd name="connsiteY33" fmla="*/ 4464050 h 4464050"/>
              <a:gd name="connsiteX34" fmla="*/ 0 w 4459850"/>
              <a:gd name="connsiteY34" fmla="*/ 4464050 h 4464050"/>
              <a:gd name="connsiteX35" fmla="*/ 0 w 4459850"/>
              <a:gd name="connsiteY35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1672385 w 4459850"/>
              <a:gd name="connsiteY12" fmla="*/ 0 h 4464050"/>
              <a:gd name="connsiteX13" fmla="*/ 1673781 w 4459850"/>
              <a:gd name="connsiteY13" fmla="*/ 0 h 4464050"/>
              <a:gd name="connsiteX14" fmla="*/ 2175191 w 4459850"/>
              <a:gd name="connsiteY14" fmla="*/ 570628 h 4464050"/>
              <a:gd name="connsiteX15" fmla="*/ 2175191 w 4459850"/>
              <a:gd name="connsiteY15" fmla="*/ 3893320 h 4464050"/>
              <a:gd name="connsiteX16" fmla="*/ 1673690 w 4459850"/>
              <a:gd name="connsiteY16" fmla="*/ 4464050 h 4464050"/>
              <a:gd name="connsiteX17" fmla="*/ 1672385 w 4459850"/>
              <a:gd name="connsiteY17" fmla="*/ 4464050 h 4464050"/>
              <a:gd name="connsiteX18" fmla="*/ 1672385 w 4459850"/>
              <a:gd name="connsiteY18" fmla="*/ 0 h 4464050"/>
              <a:gd name="connsiteX19" fmla="*/ 923822 w 4459850"/>
              <a:gd name="connsiteY19" fmla="*/ 0 h 4464050"/>
              <a:gd name="connsiteX20" fmla="*/ 925575 w 4459850"/>
              <a:gd name="connsiteY20" fmla="*/ 0 h 4464050"/>
              <a:gd name="connsiteX21" fmla="*/ 1555348 w 4459850"/>
              <a:gd name="connsiteY21" fmla="*/ 570628 h 4464050"/>
              <a:gd name="connsiteX22" fmla="*/ 1555348 w 4459850"/>
              <a:gd name="connsiteY22" fmla="*/ 3893320 h 4464050"/>
              <a:gd name="connsiteX23" fmla="*/ 925461 w 4459850"/>
              <a:gd name="connsiteY23" fmla="*/ 4464050 h 4464050"/>
              <a:gd name="connsiteX24" fmla="*/ 923822 w 4459850"/>
              <a:gd name="connsiteY24" fmla="*/ 4464050 h 4464050"/>
              <a:gd name="connsiteX25" fmla="*/ 923822 w 4459850"/>
              <a:gd name="connsiteY25" fmla="*/ 0 h 4464050"/>
              <a:gd name="connsiteX26" fmla="*/ 0 w 4459850"/>
              <a:gd name="connsiteY26" fmla="*/ 0 h 4464050"/>
              <a:gd name="connsiteX27" fmla="*/ 2239 w 4459850"/>
              <a:gd name="connsiteY27" fmla="*/ 0 h 4464050"/>
              <a:gd name="connsiteX28" fmla="*/ 806883 w 4459850"/>
              <a:gd name="connsiteY28" fmla="*/ 570628 h 4464050"/>
              <a:gd name="connsiteX29" fmla="*/ 806883 w 4459850"/>
              <a:gd name="connsiteY29" fmla="*/ 3893419 h 4464050"/>
              <a:gd name="connsiteX30" fmla="*/ 2234 w 4459850"/>
              <a:gd name="connsiteY30" fmla="*/ 4464050 h 4464050"/>
              <a:gd name="connsiteX31" fmla="*/ 0 w 4459850"/>
              <a:gd name="connsiteY31" fmla="*/ 4464050 h 4464050"/>
              <a:gd name="connsiteX32" fmla="*/ 0 w 4459850"/>
              <a:gd name="connsiteY32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3893419 h 4464050"/>
              <a:gd name="connsiteX9" fmla="*/ 2911872 w 4459850"/>
              <a:gd name="connsiteY9" fmla="*/ 570628 h 4464050"/>
              <a:gd name="connsiteX10" fmla="*/ 3541647 w 4459850"/>
              <a:gd name="connsiteY10" fmla="*/ 0 h 4464050"/>
              <a:gd name="connsiteX11" fmla="*/ 1672385 w 4459850"/>
              <a:gd name="connsiteY11" fmla="*/ 0 h 4464050"/>
              <a:gd name="connsiteX12" fmla="*/ 1673781 w 4459850"/>
              <a:gd name="connsiteY12" fmla="*/ 0 h 4464050"/>
              <a:gd name="connsiteX13" fmla="*/ 2175191 w 4459850"/>
              <a:gd name="connsiteY13" fmla="*/ 570628 h 4464050"/>
              <a:gd name="connsiteX14" fmla="*/ 2175191 w 4459850"/>
              <a:gd name="connsiteY14" fmla="*/ 3893320 h 4464050"/>
              <a:gd name="connsiteX15" fmla="*/ 1673690 w 4459850"/>
              <a:gd name="connsiteY15" fmla="*/ 4464050 h 4464050"/>
              <a:gd name="connsiteX16" fmla="*/ 1672385 w 4459850"/>
              <a:gd name="connsiteY16" fmla="*/ 4464050 h 4464050"/>
              <a:gd name="connsiteX17" fmla="*/ 1672385 w 4459850"/>
              <a:gd name="connsiteY17" fmla="*/ 0 h 4464050"/>
              <a:gd name="connsiteX18" fmla="*/ 923822 w 4459850"/>
              <a:gd name="connsiteY18" fmla="*/ 0 h 4464050"/>
              <a:gd name="connsiteX19" fmla="*/ 925575 w 4459850"/>
              <a:gd name="connsiteY19" fmla="*/ 0 h 4464050"/>
              <a:gd name="connsiteX20" fmla="*/ 1555348 w 4459850"/>
              <a:gd name="connsiteY20" fmla="*/ 570628 h 4464050"/>
              <a:gd name="connsiteX21" fmla="*/ 1555348 w 4459850"/>
              <a:gd name="connsiteY21" fmla="*/ 3893320 h 4464050"/>
              <a:gd name="connsiteX22" fmla="*/ 925461 w 4459850"/>
              <a:gd name="connsiteY22" fmla="*/ 4464050 h 4464050"/>
              <a:gd name="connsiteX23" fmla="*/ 923822 w 4459850"/>
              <a:gd name="connsiteY23" fmla="*/ 4464050 h 4464050"/>
              <a:gd name="connsiteX24" fmla="*/ 923822 w 4459850"/>
              <a:gd name="connsiteY24" fmla="*/ 0 h 4464050"/>
              <a:gd name="connsiteX25" fmla="*/ 0 w 4459850"/>
              <a:gd name="connsiteY25" fmla="*/ 0 h 4464050"/>
              <a:gd name="connsiteX26" fmla="*/ 2239 w 4459850"/>
              <a:gd name="connsiteY26" fmla="*/ 0 h 4464050"/>
              <a:gd name="connsiteX27" fmla="*/ 806883 w 4459850"/>
              <a:gd name="connsiteY27" fmla="*/ 570628 h 4464050"/>
              <a:gd name="connsiteX28" fmla="*/ 806883 w 4459850"/>
              <a:gd name="connsiteY28" fmla="*/ 3893419 h 4464050"/>
              <a:gd name="connsiteX29" fmla="*/ 2234 w 4459850"/>
              <a:gd name="connsiteY29" fmla="*/ 4464050 h 4464050"/>
              <a:gd name="connsiteX30" fmla="*/ 0 w 4459850"/>
              <a:gd name="connsiteY30" fmla="*/ 4464050 h 4464050"/>
              <a:gd name="connsiteX31" fmla="*/ 0 w 4459850"/>
              <a:gd name="connsiteY31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570628 h 4464050"/>
              <a:gd name="connsiteX9" fmla="*/ 3541647 w 4459850"/>
              <a:gd name="connsiteY9" fmla="*/ 0 h 4464050"/>
              <a:gd name="connsiteX10" fmla="*/ 1672385 w 4459850"/>
              <a:gd name="connsiteY10" fmla="*/ 0 h 4464050"/>
              <a:gd name="connsiteX11" fmla="*/ 1673781 w 4459850"/>
              <a:gd name="connsiteY11" fmla="*/ 0 h 4464050"/>
              <a:gd name="connsiteX12" fmla="*/ 2175191 w 4459850"/>
              <a:gd name="connsiteY12" fmla="*/ 570628 h 4464050"/>
              <a:gd name="connsiteX13" fmla="*/ 2175191 w 4459850"/>
              <a:gd name="connsiteY13" fmla="*/ 3893320 h 4464050"/>
              <a:gd name="connsiteX14" fmla="*/ 1673690 w 4459850"/>
              <a:gd name="connsiteY14" fmla="*/ 4464050 h 4464050"/>
              <a:gd name="connsiteX15" fmla="*/ 1672385 w 4459850"/>
              <a:gd name="connsiteY15" fmla="*/ 4464050 h 4464050"/>
              <a:gd name="connsiteX16" fmla="*/ 1672385 w 4459850"/>
              <a:gd name="connsiteY16" fmla="*/ 0 h 4464050"/>
              <a:gd name="connsiteX17" fmla="*/ 923822 w 4459850"/>
              <a:gd name="connsiteY17" fmla="*/ 0 h 4464050"/>
              <a:gd name="connsiteX18" fmla="*/ 925575 w 4459850"/>
              <a:gd name="connsiteY18" fmla="*/ 0 h 4464050"/>
              <a:gd name="connsiteX19" fmla="*/ 1555348 w 4459850"/>
              <a:gd name="connsiteY19" fmla="*/ 570628 h 4464050"/>
              <a:gd name="connsiteX20" fmla="*/ 1555348 w 4459850"/>
              <a:gd name="connsiteY20" fmla="*/ 3893320 h 4464050"/>
              <a:gd name="connsiteX21" fmla="*/ 925461 w 4459850"/>
              <a:gd name="connsiteY21" fmla="*/ 4464050 h 4464050"/>
              <a:gd name="connsiteX22" fmla="*/ 923822 w 4459850"/>
              <a:gd name="connsiteY22" fmla="*/ 4464050 h 4464050"/>
              <a:gd name="connsiteX23" fmla="*/ 923822 w 4459850"/>
              <a:gd name="connsiteY23" fmla="*/ 0 h 4464050"/>
              <a:gd name="connsiteX24" fmla="*/ 0 w 4459850"/>
              <a:gd name="connsiteY24" fmla="*/ 0 h 4464050"/>
              <a:gd name="connsiteX25" fmla="*/ 2239 w 4459850"/>
              <a:gd name="connsiteY25" fmla="*/ 0 h 4464050"/>
              <a:gd name="connsiteX26" fmla="*/ 806883 w 4459850"/>
              <a:gd name="connsiteY26" fmla="*/ 570628 h 4464050"/>
              <a:gd name="connsiteX27" fmla="*/ 806883 w 4459850"/>
              <a:gd name="connsiteY27" fmla="*/ 3893419 h 4464050"/>
              <a:gd name="connsiteX28" fmla="*/ 2234 w 4459850"/>
              <a:gd name="connsiteY28" fmla="*/ 4464050 h 4464050"/>
              <a:gd name="connsiteX29" fmla="*/ 0 w 4459850"/>
              <a:gd name="connsiteY29" fmla="*/ 4464050 h 4464050"/>
              <a:gd name="connsiteX30" fmla="*/ 0 w 4459850"/>
              <a:gd name="connsiteY30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19994 w 4459850"/>
              <a:gd name="connsiteY5" fmla="*/ 28871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570628 h 4464050"/>
              <a:gd name="connsiteX9" fmla="*/ 3519994 w 4459850"/>
              <a:gd name="connsiteY9" fmla="*/ 28871 h 4464050"/>
              <a:gd name="connsiteX10" fmla="*/ 1672385 w 4459850"/>
              <a:gd name="connsiteY10" fmla="*/ 0 h 4464050"/>
              <a:gd name="connsiteX11" fmla="*/ 1673781 w 4459850"/>
              <a:gd name="connsiteY11" fmla="*/ 0 h 4464050"/>
              <a:gd name="connsiteX12" fmla="*/ 2175191 w 4459850"/>
              <a:gd name="connsiteY12" fmla="*/ 570628 h 4464050"/>
              <a:gd name="connsiteX13" fmla="*/ 2175191 w 4459850"/>
              <a:gd name="connsiteY13" fmla="*/ 3893320 h 4464050"/>
              <a:gd name="connsiteX14" fmla="*/ 1673690 w 4459850"/>
              <a:gd name="connsiteY14" fmla="*/ 4464050 h 4464050"/>
              <a:gd name="connsiteX15" fmla="*/ 1672385 w 4459850"/>
              <a:gd name="connsiteY15" fmla="*/ 4464050 h 4464050"/>
              <a:gd name="connsiteX16" fmla="*/ 1672385 w 4459850"/>
              <a:gd name="connsiteY16" fmla="*/ 0 h 4464050"/>
              <a:gd name="connsiteX17" fmla="*/ 923822 w 4459850"/>
              <a:gd name="connsiteY17" fmla="*/ 0 h 4464050"/>
              <a:gd name="connsiteX18" fmla="*/ 925575 w 4459850"/>
              <a:gd name="connsiteY18" fmla="*/ 0 h 4464050"/>
              <a:gd name="connsiteX19" fmla="*/ 1555348 w 4459850"/>
              <a:gd name="connsiteY19" fmla="*/ 570628 h 4464050"/>
              <a:gd name="connsiteX20" fmla="*/ 1555348 w 4459850"/>
              <a:gd name="connsiteY20" fmla="*/ 3893320 h 4464050"/>
              <a:gd name="connsiteX21" fmla="*/ 925461 w 4459850"/>
              <a:gd name="connsiteY21" fmla="*/ 4464050 h 4464050"/>
              <a:gd name="connsiteX22" fmla="*/ 923822 w 4459850"/>
              <a:gd name="connsiteY22" fmla="*/ 4464050 h 4464050"/>
              <a:gd name="connsiteX23" fmla="*/ 923822 w 4459850"/>
              <a:gd name="connsiteY23" fmla="*/ 0 h 4464050"/>
              <a:gd name="connsiteX24" fmla="*/ 0 w 4459850"/>
              <a:gd name="connsiteY24" fmla="*/ 0 h 4464050"/>
              <a:gd name="connsiteX25" fmla="*/ 2239 w 4459850"/>
              <a:gd name="connsiteY25" fmla="*/ 0 h 4464050"/>
              <a:gd name="connsiteX26" fmla="*/ 806883 w 4459850"/>
              <a:gd name="connsiteY26" fmla="*/ 570628 h 4464050"/>
              <a:gd name="connsiteX27" fmla="*/ 806883 w 4459850"/>
              <a:gd name="connsiteY27" fmla="*/ 3893419 h 4464050"/>
              <a:gd name="connsiteX28" fmla="*/ 2234 w 4459850"/>
              <a:gd name="connsiteY28" fmla="*/ 4464050 h 4464050"/>
              <a:gd name="connsiteX29" fmla="*/ 0 w 4459850"/>
              <a:gd name="connsiteY29" fmla="*/ 4464050 h 4464050"/>
              <a:gd name="connsiteX30" fmla="*/ 0 w 4459850"/>
              <a:gd name="connsiteY30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2911872 w 4459850"/>
              <a:gd name="connsiteY5" fmla="*/ 570628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570628 h 4464050"/>
              <a:gd name="connsiteX9" fmla="*/ 1672385 w 4459850"/>
              <a:gd name="connsiteY9" fmla="*/ 0 h 4464050"/>
              <a:gd name="connsiteX10" fmla="*/ 1673781 w 4459850"/>
              <a:gd name="connsiteY10" fmla="*/ 0 h 4464050"/>
              <a:gd name="connsiteX11" fmla="*/ 2175191 w 4459850"/>
              <a:gd name="connsiteY11" fmla="*/ 570628 h 4464050"/>
              <a:gd name="connsiteX12" fmla="*/ 2175191 w 4459850"/>
              <a:gd name="connsiteY12" fmla="*/ 3893320 h 4464050"/>
              <a:gd name="connsiteX13" fmla="*/ 1673690 w 4459850"/>
              <a:gd name="connsiteY13" fmla="*/ 4464050 h 4464050"/>
              <a:gd name="connsiteX14" fmla="*/ 1672385 w 4459850"/>
              <a:gd name="connsiteY14" fmla="*/ 4464050 h 4464050"/>
              <a:gd name="connsiteX15" fmla="*/ 1672385 w 4459850"/>
              <a:gd name="connsiteY15" fmla="*/ 0 h 4464050"/>
              <a:gd name="connsiteX16" fmla="*/ 923822 w 4459850"/>
              <a:gd name="connsiteY16" fmla="*/ 0 h 4464050"/>
              <a:gd name="connsiteX17" fmla="*/ 925575 w 4459850"/>
              <a:gd name="connsiteY17" fmla="*/ 0 h 4464050"/>
              <a:gd name="connsiteX18" fmla="*/ 1555348 w 4459850"/>
              <a:gd name="connsiteY18" fmla="*/ 570628 h 4464050"/>
              <a:gd name="connsiteX19" fmla="*/ 1555348 w 4459850"/>
              <a:gd name="connsiteY19" fmla="*/ 3893320 h 4464050"/>
              <a:gd name="connsiteX20" fmla="*/ 925461 w 4459850"/>
              <a:gd name="connsiteY20" fmla="*/ 4464050 h 4464050"/>
              <a:gd name="connsiteX21" fmla="*/ 923822 w 4459850"/>
              <a:gd name="connsiteY21" fmla="*/ 4464050 h 4464050"/>
              <a:gd name="connsiteX22" fmla="*/ 923822 w 4459850"/>
              <a:gd name="connsiteY22" fmla="*/ 0 h 4464050"/>
              <a:gd name="connsiteX23" fmla="*/ 0 w 4459850"/>
              <a:gd name="connsiteY23" fmla="*/ 0 h 4464050"/>
              <a:gd name="connsiteX24" fmla="*/ 2239 w 4459850"/>
              <a:gd name="connsiteY24" fmla="*/ 0 h 4464050"/>
              <a:gd name="connsiteX25" fmla="*/ 806883 w 4459850"/>
              <a:gd name="connsiteY25" fmla="*/ 570628 h 4464050"/>
              <a:gd name="connsiteX26" fmla="*/ 806883 w 4459850"/>
              <a:gd name="connsiteY26" fmla="*/ 3893419 h 4464050"/>
              <a:gd name="connsiteX27" fmla="*/ 2234 w 4459850"/>
              <a:gd name="connsiteY27" fmla="*/ 4464050 h 4464050"/>
              <a:gd name="connsiteX28" fmla="*/ 0 w 4459850"/>
              <a:gd name="connsiteY28" fmla="*/ 4464050 h 4464050"/>
              <a:gd name="connsiteX29" fmla="*/ 0 w 4459850"/>
              <a:gd name="connsiteY29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2911872 w 4459850"/>
              <a:gd name="connsiteY5" fmla="*/ 570628 h 4464050"/>
              <a:gd name="connsiteX6" fmla="*/ 3543399 w 4459850"/>
              <a:gd name="connsiteY6" fmla="*/ 4464050 h 4464050"/>
              <a:gd name="connsiteX7" fmla="*/ 2911872 w 4459850"/>
              <a:gd name="connsiteY7" fmla="*/ 570628 h 4464050"/>
              <a:gd name="connsiteX8" fmla="*/ 1672385 w 4459850"/>
              <a:gd name="connsiteY8" fmla="*/ 0 h 4464050"/>
              <a:gd name="connsiteX9" fmla="*/ 1673781 w 4459850"/>
              <a:gd name="connsiteY9" fmla="*/ 0 h 4464050"/>
              <a:gd name="connsiteX10" fmla="*/ 2175191 w 4459850"/>
              <a:gd name="connsiteY10" fmla="*/ 570628 h 4464050"/>
              <a:gd name="connsiteX11" fmla="*/ 2175191 w 4459850"/>
              <a:gd name="connsiteY11" fmla="*/ 3893320 h 4464050"/>
              <a:gd name="connsiteX12" fmla="*/ 1673690 w 4459850"/>
              <a:gd name="connsiteY12" fmla="*/ 4464050 h 4464050"/>
              <a:gd name="connsiteX13" fmla="*/ 1672385 w 4459850"/>
              <a:gd name="connsiteY13" fmla="*/ 4464050 h 4464050"/>
              <a:gd name="connsiteX14" fmla="*/ 1672385 w 4459850"/>
              <a:gd name="connsiteY14" fmla="*/ 0 h 4464050"/>
              <a:gd name="connsiteX15" fmla="*/ 923822 w 4459850"/>
              <a:gd name="connsiteY15" fmla="*/ 0 h 4464050"/>
              <a:gd name="connsiteX16" fmla="*/ 925575 w 4459850"/>
              <a:gd name="connsiteY16" fmla="*/ 0 h 4464050"/>
              <a:gd name="connsiteX17" fmla="*/ 1555348 w 4459850"/>
              <a:gd name="connsiteY17" fmla="*/ 570628 h 4464050"/>
              <a:gd name="connsiteX18" fmla="*/ 1555348 w 4459850"/>
              <a:gd name="connsiteY18" fmla="*/ 3893320 h 4464050"/>
              <a:gd name="connsiteX19" fmla="*/ 925461 w 4459850"/>
              <a:gd name="connsiteY19" fmla="*/ 4464050 h 4464050"/>
              <a:gd name="connsiteX20" fmla="*/ 923822 w 4459850"/>
              <a:gd name="connsiteY20" fmla="*/ 4464050 h 4464050"/>
              <a:gd name="connsiteX21" fmla="*/ 923822 w 4459850"/>
              <a:gd name="connsiteY21" fmla="*/ 0 h 4464050"/>
              <a:gd name="connsiteX22" fmla="*/ 0 w 4459850"/>
              <a:gd name="connsiteY22" fmla="*/ 0 h 4464050"/>
              <a:gd name="connsiteX23" fmla="*/ 2239 w 4459850"/>
              <a:gd name="connsiteY23" fmla="*/ 0 h 4464050"/>
              <a:gd name="connsiteX24" fmla="*/ 806883 w 4459850"/>
              <a:gd name="connsiteY24" fmla="*/ 570628 h 4464050"/>
              <a:gd name="connsiteX25" fmla="*/ 806883 w 4459850"/>
              <a:gd name="connsiteY25" fmla="*/ 3893419 h 4464050"/>
              <a:gd name="connsiteX26" fmla="*/ 2234 w 4459850"/>
              <a:gd name="connsiteY26" fmla="*/ 4464050 h 4464050"/>
              <a:gd name="connsiteX27" fmla="*/ 0 w 4459850"/>
              <a:gd name="connsiteY27" fmla="*/ 4464050 h 4464050"/>
              <a:gd name="connsiteX28" fmla="*/ 0 w 4459850"/>
              <a:gd name="connsiteY28" fmla="*/ 0 h 4464050"/>
              <a:gd name="connsiteX0" fmla="*/ 3660238 w 4459850"/>
              <a:gd name="connsiteY0" fmla="*/ 570628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2911872 w 4459850"/>
              <a:gd name="connsiteY4" fmla="*/ 570628 h 4464050"/>
              <a:gd name="connsiteX5" fmla="*/ 3543399 w 4459850"/>
              <a:gd name="connsiteY5" fmla="*/ 4464050 h 4464050"/>
              <a:gd name="connsiteX6" fmla="*/ 2911872 w 4459850"/>
              <a:gd name="connsiteY6" fmla="*/ 570628 h 4464050"/>
              <a:gd name="connsiteX7" fmla="*/ 1672385 w 4459850"/>
              <a:gd name="connsiteY7" fmla="*/ 0 h 4464050"/>
              <a:gd name="connsiteX8" fmla="*/ 1673781 w 4459850"/>
              <a:gd name="connsiteY8" fmla="*/ 0 h 4464050"/>
              <a:gd name="connsiteX9" fmla="*/ 2175191 w 4459850"/>
              <a:gd name="connsiteY9" fmla="*/ 570628 h 4464050"/>
              <a:gd name="connsiteX10" fmla="*/ 2175191 w 4459850"/>
              <a:gd name="connsiteY10" fmla="*/ 3893320 h 4464050"/>
              <a:gd name="connsiteX11" fmla="*/ 1673690 w 4459850"/>
              <a:gd name="connsiteY11" fmla="*/ 4464050 h 4464050"/>
              <a:gd name="connsiteX12" fmla="*/ 1672385 w 4459850"/>
              <a:gd name="connsiteY12" fmla="*/ 4464050 h 4464050"/>
              <a:gd name="connsiteX13" fmla="*/ 1672385 w 4459850"/>
              <a:gd name="connsiteY13" fmla="*/ 0 h 4464050"/>
              <a:gd name="connsiteX14" fmla="*/ 923822 w 4459850"/>
              <a:gd name="connsiteY14" fmla="*/ 0 h 4464050"/>
              <a:gd name="connsiteX15" fmla="*/ 925575 w 4459850"/>
              <a:gd name="connsiteY15" fmla="*/ 0 h 4464050"/>
              <a:gd name="connsiteX16" fmla="*/ 1555348 w 4459850"/>
              <a:gd name="connsiteY16" fmla="*/ 570628 h 4464050"/>
              <a:gd name="connsiteX17" fmla="*/ 1555348 w 4459850"/>
              <a:gd name="connsiteY17" fmla="*/ 3893320 h 4464050"/>
              <a:gd name="connsiteX18" fmla="*/ 925461 w 4459850"/>
              <a:gd name="connsiteY18" fmla="*/ 4464050 h 4464050"/>
              <a:gd name="connsiteX19" fmla="*/ 923822 w 4459850"/>
              <a:gd name="connsiteY19" fmla="*/ 4464050 h 4464050"/>
              <a:gd name="connsiteX20" fmla="*/ 923822 w 4459850"/>
              <a:gd name="connsiteY20" fmla="*/ 0 h 4464050"/>
              <a:gd name="connsiteX21" fmla="*/ 0 w 4459850"/>
              <a:gd name="connsiteY21" fmla="*/ 0 h 4464050"/>
              <a:gd name="connsiteX22" fmla="*/ 2239 w 4459850"/>
              <a:gd name="connsiteY22" fmla="*/ 0 h 4464050"/>
              <a:gd name="connsiteX23" fmla="*/ 806883 w 4459850"/>
              <a:gd name="connsiteY23" fmla="*/ 570628 h 4464050"/>
              <a:gd name="connsiteX24" fmla="*/ 806883 w 4459850"/>
              <a:gd name="connsiteY24" fmla="*/ 3893419 h 4464050"/>
              <a:gd name="connsiteX25" fmla="*/ 2234 w 4459850"/>
              <a:gd name="connsiteY25" fmla="*/ 4464050 h 4464050"/>
              <a:gd name="connsiteX26" fmla="*/ 0 w 4459850"/>
              <a:gd name="connsiteY26" fmla="*/ 4464050 h 4464050"/>
              <a:gd name="connsiteX27" fmla="*/ 0 w 4459850"/>
              <a:gd name="connsiteY27" fmla="*/ 0 h 4464050"/>
              <a:gd name="connsiteX0" fmla="*/ 3660238 w 4459850"/>
              <a:gd name="connsiteY0" fmla="*/ 570628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1672385 w 4459850"/>
              <a:gd name="connsiteY4" fmla="*/ 0 h 4464050"/>
              <a:gd name="connsiteX5" fmla="*/ 1673781 w 4459850"/>
              <a:gd name="connsiteY5" fmla="*/ 0 h 4464050"/>
              <a:gd name="connsiteX6" fmla="*/ 2175191 w 4459850"/>
              <a:gd name="connsiteY6" fmla="*/ 570628 h 4464050"/>
              <a:gd name="connsiteX7" fmla="*/ 2175191 w 4459850"/>
              <a:gd name="connsiteY7" fmla="*/ 3893320 h 4464050"/>
              <a:gd name="connsiteX8" fmla="*/ 1673690 w 4459850"/>
              <a:gd name="connsiteY8" fmla="*/ 4464050 h 4464050"/>
              <a:gd name="connsiteX9" fmla="*/ 1672385 w 4459850"/>
              <a:gd name="connsiteY9" fmla="*/ 4464050 h 4464050"/>
              <a:gd name="connsiteX10" fmla="*/ 1672385 w 4459850"/>
              <a:gd name="connsiteY10" fmla="*/ 0 h 4464050"/>
              <a:gd name="connsiteX11" fmla="*/ 923822 w 4459850"/>
              <a:gd name="connsiteY11" fmla="*/ 0 h 4464050"/>
              <a:gd name="connsiteX12" fmla="*/ 925575 w 4459850"/>
              <a:gd name="connsiteY12" fmla="*/ 0 h 4464050"/>
              <a:gd name="connsiteX13" fmla="*/ 1555348 w 4459850"/>
              <a:gd name="connsiteY13" fmla="*/ 570628 h 4464050"/>
              <a:gd name="connsiteX14" fmla="*/ 1555348 w 4459850"/>
              <a:gd name="connsiteY14" fmla="*/ 3893320 h 4464050"/>
              <a:gd name="connsiteX15" fmla="*/ 925461 w 4459850"/>
              <a:gd name="connsiteY15" fmla="*/ 4464050 h 4464050"/>
              <a:gd name="connsiteX16" fmla="*/ 923822 w 4459850"/>
              <a:gd name="connsiteY16" fmla="*/ 4464050 h 4464050"/>
              <a:gd name="connsiteX17" fmla="*/ 923822 w 4459850"/>
              <a:gd name="connsiteY17" fmla="*/ 0 h 4464050"/>
              <a:gd name="connsiteX18" fmla="*/ 0 w 4459850"/>
              <a:gd name="connsiteY18" fmla="*/ 0 h 4464050"/>
              <a:gd name="connsiteX19" fmla="*/ 2239 w 4459850"/>
              <a:gd name="connsiteY19" fmla="*/ 0 h 4464050"/>
              <a:gd name="connsiteX20" fmla="*/ 806883 w 4459850"/>
              <a:gd name="connsiteY20" fmla="*/ 570628 h 4464050"/>
              <a:gd name="connsiteX21" fmla="*/ 806883 w 4459850"/>
              <a:gd name="connsiteY21" fmla="*/ 3893419 h 4464050"/>
              <a:gd name="connsiteX22" fmla="*/ 2234 w 4459850"/>
              <a:gd name="connsiteY22" fmla="*/ 4464050 h 4464050"/>
              <a:gd name="connsiteX23" fmla="*/ 0 w 4459850"/>
              <a:gd name="connsiteY23" fmla="*/ 4464050 h 4464050"/>
              <a:gd name="connsiteX24" fmla="*/ 0 w 4459850"/>
              <a:gd name="connsiteY24" fmla="*/ 0 h 4464050"/>
              <a:gd name="connsiteX0" fmla="*/ 3660238 w 4459850"/>
              <a:gd name="connsiteY0" fmla="*/ 389341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1672385 w 4459850"/>
              <a:gd name="connsiteY3" fmla="*/ 0 h 4464050"/>
              <a:gd name="connsiteX4" fmla="*/ 1673781 w 4459850"/>
              <a:gd name="connsiteY4" fmla="*/ 0 h 4464050"/>
              <a:gd name="connsiteX5" fmla="*/ 2175191 w 4459850"/>
              <a:gd name="connsiteY5" fmla="*/ 570628 h 4464050"/>
              <a:gd name="connsiteX6" fmla="*/ 2175191 w 4459850"/>
              <a:gd name="connsiteY6" fmla="*/ 3893320 h 4464050"/>
              <a:gd name="connsiteX7" fmla="*/ 1673690 w 4459850"/>
              <a:gd name="connsiteY7" fmla="*/ 4464050 h 4464050"/>
              <a:gd name="connsiteX8" fmla="*/ 1672385 w 4459850"/>
              <a:gd name="connsiteY8" fmla="*/ 4464050 h 4464050"/>
              <a:gd name="connsiteX9" fmla="*/ 1672385 w 4459850"/>
              <a:gd name="connsiteY9" fmla="*/ 0 h 4464050"/>
              <a:gd name="connsiteX10" fmla="*/ 923822 w 4459850"/>
              <a:gd name="connsiteY10" fmla="*/ 0 h 4464050"/>
              <a:gd name="connsiteX11" fmla="*/ 925575 w 4459850"/>
              <a:gd name="connsiteY11" fmla="*/ 0 h 4464050"/>
              <a:gd name="connsiteX12" fmla="*/ 1555348 w 4459850"/>
              <a:gd name="connsiteY12" fmla="*/ 570628 h 4464050"/>
              <a:gd name="connsiteX13" fmla="*/ 1555348 w 4459850"/>
              <a:gd name="connsiteY13" fmla="*/ 3893320 h 4464050"/>
              <a:gd name="connsiteX14" fmla="*/ 925461 w 4459850"/>
              <a:gd name="connsiteY14" fmla="*/ 4464050 h 4464050"/>
              <a:gd name="connsiteX15" fmla="*/ 923822 w 4459850"/>
              <a:gd name="connsiteY15" fmla="*/ 4464050 h 4464050"/>
              <a:gd name="connsiteX16" fmla="*/ 923822 w 4459850"/>
              <a:gd name="connsiteY16" fmla="*/ 0 h 4464050"/>
              <a:gd name="connsiteX17" fmla="*/ 0 w 4459850"/>
              <a:gd name="connsiteY17" fmla="*/ 0 h 4464050"/>
              <a:gd name="connsiteX18" fmla="*/ 2239 w 4459850"/>
              <a:gd name="connsiteY18" fmla="*/ 0 h 4464050"/>
              <a:gd name="connsiteX19" fmla="*/ 806883 w 4459850"/>
              <a:gd name="connsiteY19" fmla="*/ 570628 h 4464050"/>
              <a:gd name="connsiteX20" fmla="*/ 806883 w 4459850"/>
              <a:gd name="connsiteY20" fmla="*/ 3893419 h 4464050"/>
              <a:gd name="connsiteX21" fmla="*/ 2234 w 4459850"/>
              <a:gd name="connsiteY21" fmla="*/ 4464050 h 4464050"/>
              <a:gd name="connsiteX22" fmla="*/ 0 w 4459850"/>
              <a:gd name="connsiteY22" fmla="*/ 4464050 h 4464050"/>
              <a:gd name="connsiteX23" fmla="*/ 0 w 4459850"/>
              <a:gd name="connsiteY23" fmla="*/ 0 h 4464050"/>
              <a:gd name="connsiteX0" fmla="*/ 1672385 w 2175191"/>
              <a:gd name="connsiteY0" fmla="*/ 0 h 4464050"/>
              <a:gd name="connsiteX1" fmla="*/ 1673781 w 2175191"/>
              <a:gd name="connsiteY1" fmla="*/ 0 h 4464050"/>
              <a:gd name="connsiteX2" fmla="*/ 2175191 w 2175191"/>
              <a:gd name="connsiteY2" fmla="*/ 570628 h 4464050"/>
              <a:gd name="connsiteX3" fmla="*/ 2175191 w 2175191"/>
              <a:gd name="connsiteY3" fmla="*/ 3893320 h 4464050"/>
              <a:gd name="connsiteX4" fmla="*/ 1673690 w 2175191"/>
              <a:gd name="connsiteY4" fmla="*/ 4464050 h 4464050"/>
              <a:gd name="connsiteX5" fmla="*/ 1672385 w 2175191"/>
              <a:gd name="connsiteY5" fmla="*/ 4464050 h 4464050"/>
              <a:gd name="connsiteX6" fmla="*/ 1672385 w 2175191"/>
              <a:gd name="connsiteY6" fmla="*/ 0 h 4464050"/>
              <a:gd name="connsiteX7" fmla="*/ 923822 w 2175191"/>
              <a:gd name="connsiteY7" fmla="*/ 0 h 4464050"/>
              <a:gd name="connsiteX8" fmla="*/ 925575 w 2175191"/>
              <a:gd name="connsiteY8" fmla="*/ 0 h 4464050"/>
              <a:gd name="connsiteX9" fmla="*/ 1555348 w 2175191"/>
              <a:gd name="connsiteY9" fmla="*/ 570628 h 4464050"/>
              <a:gd name="connsiteX10" fmla="*/ 1555348 w 2175191"/>
              <a:gd name="connsiteY10" fmla="*/ 3893320 h 4464050"/>
              <a:gd name="connsiteX11" fmla="*/ 925461 w 2175191"/>
              <a:gd name="connsiteY11" fmla="*/ 4464050 h 4464050"/>
              <a:gd name="connsiteX12" fmla="*/ 923822 w 2175191"/>
              <a:gd name="connsiteY12" fmla="*/ 4464050 h 4464050"/>
              <a:gd name="connsiteX13" fmla="*/ 923822 w 2175191"/>
              <a:gd name="connsiteY13" fmla="*/ 0 h 4464050"/>
              <a:gd name="connsiteX14" fmla="*/ 0 w 2175191"/>
              <a:gd name="connsiteY14" fmla="*/ 0 h 4464050"/>
              <a:gd name="connsiteX15" fmla="*/ 2239 w 2175191"/>
              <a:gd name="connsiteY15" fmla="*/ 0 h 4464050"/>
              <a:gd name="connsiteX16" fmla="*/ 806883 w 2175191"/>
              <a:gd name="connsiteY16" fmla="*/ 570628 h 4464050"/>
              <a:gd name="connsiteX17" fmla="*/ 806883 w 2175191"/>
              <a:gd name="connsiteY17" fmla="*/ 3893419 h 4464050"/>
              <a:gd name="connsiteX18" fmla="*/ 2234 w 2175191"/>
              <a:gd name="connsiteY18" fmla="*/ 4464050 h 4464050"/>
              <a:gd name="connsiteX19" fmla="*/ 0 w 2175191"/>
              <a:gd name="connsiteY19" fmla="*/ 4464050 h 4464050"/>
              <a:gd name="connsiteX20" fmla="*/ 0 w 2175191"/>
              <a:gd name="connsiteY20" fmla="*/ 0 h 446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175191" h="4464050">
                <a:moveTo>
                  <a:pt x="1672385" y="0"/>
                </a:moveTo>
                <a:lnTo>
                  <a:pt x="1673781" y="0"/>
                </a:lnTo>
                <a:lnTo>
                  <a:pt x="2175191" y="570628"/>
                </a:lnTo>
                <a:lnTo>
                  <a:pt x="2175191" y="3893320"/>
                </a:lnTo>
                <a:lnTo>
                  <a:pt x="1673690" y="4464050"/>
                </a:lnTo>
                <a:lnTo>
                  <a:pt x="1672385" y="4464050"/>
                </a:lnTo>
                <a:lnTo>
                  <a:pt x="1672385" y="0"/>
                </a:lnTo>
                <a:close/>
                <a:moveTo>
                  <a:pt x="923822" y="0"/>
                </a:moveTo>
                <a:lnTo>
                  <a:pt x="925575" y="0"/>
                </a:lnTo>
                <a:lnTo>
                  <a:pt x="1555348" y="570628"/>
                </a:lnTo>
                <a:lnTo>
                  <a:pt x="1555348" y="3893320"/>
                </a:lnTo>
                <a:lnTo>
                  <a:pt x="925461" y="4464050"/>
                </a:lnTo>
                <a:lnTo>
                  <a:pt x="923822" y="4464050"/>
                </a:lnTo>
                <a:lnTo>
                  <a:pt x="923822" y="0"/>
                </a:lnTo>
                <a:close/>
                <a:moveTo>
                  <a:pt x="0" y="0"/>
                </a:moveTo>
                <a:lnTo>
                  <a:pt x="2239" y="0"/>
                </a:lnTo>
                <a:lnTo>
                  <a:pt x="806883" y="570628"/>
                </a:lnTo>
                <a:lnTo>
                  <a:pt x="806883" y="3893419"/>
                </a:lnTo>
                <a:lnTo>
                  <a:pt x="2234" y="4464050"/>
                </a:lnTo>
                <a:lnTo>
                  <a:pt x="0" y="446405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085018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4" userDrawn="1">
          <p15:clr>
            <a:srgbClr val="F26B43"/>
          </p15:clr>
        </p15:guide>
        <p15:guide id="2" orient="horz" pos="518" userDrawn="1">
          <p15:clr>
            <a:srgbClr val="547EBF"/>
          </p15:clr>
        </p15:guide>
        <p15:guide id="3" orient="horz" pos="270" userDrawn="1">
          <p15:clr>
            <a:srgbClr val="547EBF"/>
          </p15:clr>
        </p15:guide>
        <p15:guide id="4" pos="272" userDrawn="1">
          <p15:clr>
            <a:srgbClr val="547EBF"/>
          </p15:clr>
        </p15:guide>
        <p15:guide id="5" orient="horz" pos="2822" userDrawn="1">
          <p15:clr>
            <a:srgbClr val="F26B43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WallPap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074075C-D830-71D2-F4A7-2FA2FA85E00A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16690" b="-16690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DAAFC87-EB9B-8E38-1FCE-0BA94F1CBC2A}"/>
              </a:ext>
            </a:extLst>
          </p:cNvPr>
          <p:cNvSpPr/>
          <p:nvPr userDrawn="1"/>
        </p:nvSpPr>
        <p:spPr>
          <a:xfrm>
            <a:off x="0" y="1058864"/>
            <a:ext cx="4785582" cy="40846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3560DFD-FF2E-F6E5-BDE1-E6BCDD3196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948437"/>
            <a:ext cx="3918513" cy="128961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divider title</a:t>
            </a:r>
            <a:endParaRPr lang="en-US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71CDD51B-73E1-76FB-FE20-5A21A4A1B9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367294"/>
            <a:ext cx="3918513" cy="896731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297DC80-571E-6EBB-769B-52D224B0EF9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800" y="4717794"/>
            <a:ext cx="931835" cy="129600"/>
          </a:xfrm>
          <a:prstGeom prst="rect">
            <a:avLst/>
          </a:prstGeom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45AF78F-7630-01D4-06C5-777E22534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362080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WallPaper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F1D83A4-E367-5E18-1F9C-8CBC8E6299AA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16690" b="-16690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DAAFC87-EB9B-8E38-1FCE-0BA94F1CBC2A}"/>
              </a:ext>
            </a:extLst>
          </p:cNvPr>
          <p:cNvSpPr/>
          <p:nvPr userDrawn="1"/>
        </p:nvSpPr>
        <p:spPr>
          <a:xfrm>
            <a:off x="0" y="1058863"/>
            <a:ext cx="4785582" cy="40846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3560DFD-FF2E-F6E5-BDE1-E6BCDD3196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948437"/>
            <a:ext cx="3918513" cy="128961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divider title</a:t>
            </a:r>
            <a:endParaRPr lang="en-US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71CDD51B-73E1-76FB-FE20-5A21A4A1B9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367294"/>
            <a:ext cx="3918513" cy="896731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D140CF4-719D-C36B-C74F-E5084AB288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800" y="4717794"/>
            <a:ext cx="931835" cy="129600"/>
          </a:xfrm>
          <a:prstGeom prst="rect">
            <a:avLst/>
          </a:prstGeom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A9EACF3-1663-106A-5A3B-9FC283B442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278069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1419225"/>
            <a:ext cx="5454650" cy="11525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360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Add closing statement over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6833" y="2963492"/>
            <a:ext cx="4087814" cy="8807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ln>
                  <a:noFill/>
                </a:ln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subtitle style 20p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0197868-037A-41F2-B094-C3240916F3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42" y="4479725"/>
            <a:ext cx="1475916" cy="432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DA4C76E1-0FF6-1E1D-2FD6-119F1A5101B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8535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484">
          <p15:clr>
            <a:srgbClr val="FBAE40"/>
          </p15:clr>
        </p15:guide>
        <p15:guide id="3" orient="horz" pos="554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DE1C54E9-58F8-C5C2-0210-221256D6D956}"/>
              </a:ext>
            </a:extLst>
          </p:cNvPr>
          <p:cNvGrpSpPr/>
          <p:nvPr userDrawn="1"/>
        </p:nvGrpSpPr>
        <p:grpSpPr>
          <a:xfrm>
            <a:off x="2316000" y="1540143"/>
            <a:ext cx="4512000" cy="2063214"/>
            <a:chOff x="2316000" y="1566570"/>
            <a:chExt cx="4512000" cy="2063214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70B1684-9852-7DF3-5730-A04105F7EA5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3942000" y="1566570"/>
              <a:ext cx="1260000" cy="1260000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00C42119-8722-3B60-2AAE-AF1121902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316000" y="3341784"/>
              <a:ext cx="4512000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325937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484">
          <p15:clr>
            <a:srgbClr val="FBAE40"/>
          </p15:clr>
        </p15:guide>
        <p15:guide id="3" orient="horz" pos="554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576263" y="835026"/>
            <a:ext cx="7991475" cy="3897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FE40DE-7E7D-4146-AB2D-5551E7E74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770B-7A94-4844-AD38-CF8FB308000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74F79-D68A-45F4-B9C7-F1CCDF9519A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6A03-20E1-4E11-AF69-2080BD58C1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599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abel Cover -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933D8557-708A-63F8-E3F0-46300F55EE9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481746" y="411163"/>
            <a:ext cx="3230454" cy="3889376"/>
          </a:xfrm>
          <a:custGeom>
            <a:avLst/>
            <a:gdLst>
              <a:gd name="connsiteX0" fmla="*/ 1287193 w 3289788"/>
              <a:gd name="connsiteY0" fmla="*/ 0 h 3960812"/>
              <a:gd name="connsiteX1" fmla="*/ 3289788 w 3289788"/>
              <a:gd name="connsiteY1" fmla="*/ 0 h 3960812"/>
              <a:gd name="connsiteX2" fmla="*/ 3289788 w 3289788"/>
              <a:gd name="connsiteY2" fmla="*/ 2670127 h 3960812"/>
              <a:gd name="connsiteX3" fmla="*/ 3032351 w 3289788"/>
              <a:gd name="connsiteY3" fmla="*/ 2670127 h 3960812"/>
              <a:gd name="connsiteX4" fmla="*/ 3032351 w 3289788"/>
              <a:gd name="connsiteY4" fmla="*/ 2928264 h 3960812"/>
              <a:gd name="connsiteX5" fmla="*/ 2774912 w 3289788"/>
              <a:gd name="connsiteY5" fmla="*/ 2928264 h 3960812"/>
              <a:gd name="connsiteX6" fmla="*/ 2774912 w 3289788"/>
              <a:gd name="connsiteY6" fmla="*/ 3186401 h 3960812"/>
              <a:gd name="connsiteX7" fmla="*/ 2517473 w 3289788"/>
              <a:gd name="connsiteY7" fmla="*/ 3186401 h 3960812"/>
              <a:gd name="connsiteX8" fmla="*/ 2517473 w 3289788"/>
              <a:gd name="connsiteY8" fmla="*/ 3444538 h 3960812"/>
              <a:gd name="connsiteX9" fmla="*/ 2260034 w 3289788"/>
              <a:gd name="connsiteY9" fmla="*/ 3444538 h 3960812"/>
              <a:gd name="connsiteX10" fmla="*/ 2260034 w 3289788"/>
              <a:gd name="connsiteY10" fmla="*/ 3702675 h 3960812"/>
              <a:gd name="connsiteX11" fmla="*/ 2002595 w 3289788"/>
              <a:gd name="connsiteY11" fmla="*/ 3702675 h 3960812"/>
              <a:gd name="connsiteX12" fmla="*/ 2002595 w 3289788"/>
              <a:gd name="connsiteY12" fmla="*/ 3960812 h 3960812"/>
              <a:gd name="connsiteX13" fmla="*/ 0 w 3289788"/>
              <a:gd name="connsiteY13" fmla="*/ 3960812 h 3960812"/>
              <a:gd name="connsiteX14" fmla="*/ 0 w 3289788"/>
              <a:gd name="connsiteY14" fmla="*/ 1290685 h 3960812"/>
              <a:gd name="connsiteX15" fmla="*/ 257439 w 3289788"/>
              <a:gd name="connsiteY15" fmla="*/ 1290685 h 3960812"/>
              <a:gd name="connsiteX16" fmla="*/ 257439 w 3289788"/>
              <a:gd name="connsiteY16" fmla="*/ 1032548 h 3960812"/>
              <a:gd name="connsiteX17" fmla="*/ 514878 w 3289788"/>
              <a:gd name="connsiteY17" fmla="*/ 1032548 h 3960812"/>
              <a:gd name="connsiteX18" fmla="*/ 514878 w 3289788"/>
              <a:gd name="connsiteY18" fmla="*/ 774411 h 3960812"/>
              <a:gd name="connsiteX19" fmla="*/ 772317 w 3289788"/>
              <a:gd name="connsiteY19" fmla="*/ 774411 h 3960812"/>
              <a:gd name="connsiteX20" fmla="*/ 772317 w 3289788"/>
              <a:gd name="connsiteY20" fmla="*/ 516274 h 3960812"/>
              <a:gd name="connsiteX21" fmla="*/ 1029756 w 3289788"/>
              <a:gd name="connsiteY21" fmla="*/ 516274 h 3960812"/>
              <a:gd name="connsiteX22" fmla="*/ 1029756 w 3289788"/>
              <a:gd name="connsiteY22" fmla="*/ 258137 h 3960812"/>
              <a:gd name="connsiteX23" fmla="*/ 1287193 w 3289788"/>
              <a:gd name="connsiteY23" fmla="*/ 258137 h 3960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289788" h="3960812">
                <a:moveTo>
                  <a:pt x="1287193" y="0"/>
                </a:moveTo>
                <a:lnTo>
                  <a:pt x="3289788" y="0"/>
                </a:lnTo>
                <a:lnTo>
                  <a:pt x="3289788" y="2670127"/>
                </a:lnTo>
                <a:lnTo>
                  <a:pt x="3032351" y="2670127"/>
                </a:lnTo>
                <a:lnTo>
                  <a:pt x="3032351" y="2928264"/>
                </a:lnTo>
                <a:lnTo>
                  <a:pt x="2774912" y="2928264"/>
                </a:lnTo>
                <a:lnTo>
                  <a:pt x="2774912" y="3186401"/>
                </a:lnTo>
                <a:lnTo>
                  <a:pt x="2517473" y="3186401"/>
                </a:lnTo>
                <a:lnTo>
                  <a:pt x="2517473" y="3444538"/>
                </a:lnTo>
                <a:lnTo>
                  <a:pt x="2260034" y="3444538"/>
                </a:lnTo>
                <a:lnTo>
                  <a:pt x="2260034" y="3702675"/>
                </a:lnTo>
                <a:lnTo>
                  <a:pt x="2002595" y="3702675"/>
                </a:lnTo>
                <a:lnTo>
                  <a:pt x="2002595" y="3960812"/>
                </a:lnTo>
                <a:lnTo>
                  <a:pt x="0" y="3960812"/>
                </a:lnTo>
                <a:lnTo>
                  <a:pt x="0" y="1290685"/>
                </a:lnTo>
                <a:lnTo>
                  <a:pt x="257439" y="1290685"/>
                </a:lnTo>
                <a:lnTo>
                  <a:pt x="257439" y="1032548"/>
                </a:lnTo>
                <a:lnTo>
                  <a:pt x="514878" y="1032548"/>
                </a:lnTo>
                <a:lnTo>
                  <a:pt x="514878" y="774411"/>
                </a:lnTo>
                <a:lnTo>
                  <a:pt x="772317" y="774411"/>
                </a:lnTo>
                <a:lnTo>
                  <a:pt x="772317" y="516274"/>
                </a:lnTo>
                <a:lnTo>
                  <a:pt x="1029756" y="516274"/>
                </a:lnTo>
                <a:lnTo>
                  <a:pt x="1029756" y="258137"/>
                </a:lnTo>
                <a:lnTo>
                  <a:pt x="1287193" y="258137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Insert pictur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4045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4045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B5D9AD25-48D2-8663-9649-78908323C9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4975" y="4483099"/>
            <a:ext cx="1425722" cy="469901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358931E8-9625-77F8-7BBF-076FE66C8CC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510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4" userDrawn="1">
          <p15:clr>
            <a:srgbClr val="F26B43"/>
          </p15:clr>
        </p15:guide>
        <p15:guide id="2" orient="horz" pos="518" userDrawn="1">
          <p15:clr>
            <a:srgbClr val="547EBF"/>
          </p15:clr>
        </p15:guide>
        <p15:guide id="3" orient="horz" pos="270" userDrawn="1">
          <p15:clr>
            <a:srgbClr val="547EBF"/>
          </p15:clr>
        </p15:guide>
        <p15:guide id="4" pos="272" userDrawn="1">
          <p15:clr>
            <a:srgbClr val="547EBF"/>
          </p15:clr>
        </p15:guide>
        <p15:guide id="5" orient="horz" pos="2822" userDrawn="1">
          <p15:clr>
            <a:srgbClr val="F26B43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abel Cover -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918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918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sp>
        <p:nvSpPr>
          <p:cNvPr id="2" name="Picture Placeholder 48">
            <a:extLst>
              <a:ext uri="{FF2B5EF4-FFF2-40B4-BE49-F238E27FC236}">
                <a16:creationId xmlns:a16="http://schemas.microsoft.com/office/drawing/2014/main" id="{A7551421-354E-1441-AEFF-FA5F95FCD9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935426" y="626385"/>
            <a:ext cx="3770985" cy="3709078"/>
          </a:xfrm>
          <a:custGeom>
            <a:avLst/>
            <a:gdLst>
              <a:gd name="connsiteX0" fmla="*/ 446456 w 3478814"/>
              <a:gd name="connsiteY0" fmla="*/ 2633052 h 3421704"/>
              <a:gd name="connsiteX1" fmla="*/ 3033202 w 3478814"/>
              <a:gd name="connsiteY1" fmla="*/ 2633052 h 3421704"/>
              <a:gd name="connsiteX2" fmla="*/ 3478814 w 3478814"/>
              <a:gd name="connsiteY2" fmla="*/ 3421704 h 3421704"/>
              <a:gd name="connsiteX3" fmla="*/ 0 w 3478814"/>
              <a:gd name="connsiteY3" fmla="*/ 3421704 h 3421704"/>
              <a:gd name="connsiteX4" fmla="*/ 446456 w 3478814"/>
              <a:gd name="connsiteY4" fmla="*/ 1755087 h 3421704"/>
              <a:gd name="connsiteX5" fmla="*/ 3033202 w 3478814"/>
              <a:gd name="connsiteY5" fmla="*/ 1755087 h 3421704"/>
              <a:gd name="connsiteX6" fmla="*/ 3478814 w 3478814"/>
              <a:gd name="connsiteY6" fmla="*/ 2543739 h 3421704"/>
              <a:gd name="connsiteX7" fmla="*/ 0 w 3478814"/>
              <a:gd name="connsiteY7" fmla="*/ 2543739 h 3421704"/>
              <a:gd name="connsiteX8" fmla="*/ 446456 w 3478814"/>
              <a:gd name="connsiteY8" fmla="*/ 877965 h 3421704"/>
              <a:gd name="connsiteX9" fmla="*/ 3033202 w 3478814"/>
              <a:gd name="connsiteY9" fmla="*/ 877965 h 3421704"/>
              <a:gd name="connsiteX10" fmla="*/ 3478814 w 3478814"/>
              <a:gd name="connsiteY10" fmla="*/ 1666617 h 3421704"/>
              <a:gd name="connsiteX11" fmla="*/ 0 w 3478814"/>
              <a:gd name="connsiteY11" fmla="*/ 1666617 h 3421704"/>
              <a:gd name="connsiteX12" fmla="*/ 446456 w 3478814"/>
              <a:gd name="connsiteY12" fmla="*/ 0 h 3421704"/>
              <a:gd name="connsiteX13" fmla="*/ 3033202 w 3478814"/>
              <a:gd name="connsiteY13" fmla="*/ 0 h 3421704"/>
              <a:gd name="connsiteX14" fmla="*/ 3478814 w 3478814"/>
              <a:gd name="connsiteY14" fmla="*/ 788652 h 3421704"/>
              <a:gd name="connsiteX15" fmla="*/ 0 w 3478814"/>
              <a:gd name="connsiteY15" fmla="*/ 788652 h 3421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78814" h="3421704">
                <a:moveTo>
                  <a:pt x="446456" y="2633052"/>
                </a:moveTo>
                <a:lnTo>
                  <a:pt x="3033202" y="2633052"/>
                </a:lnTo>
                <a:lnTo>
                  <a:pt x="3478814" y="3421704"/>
                </a:lnTo>
                <a:lnTo>
                  <a:pt x="0" y="3421704"/>
                </a:lnTo>
                <a:close/>
                <a:moveTo>
                  <a:pt x="446456" y="1755087"/>
                </a:moveTo>
                <a:lnTo>
                  <a:pt x="3033202" y="1755087"/>
                </a:lnTo>
                <a:lnTo>
                  <a:pt x="3478814" y="2543739"/>
                </a:lnTo>
                <a:lnTo>
                  <a:pt x="0" y="2543739"/>
                </a:lnTo>
                <a:close/>
                <a:moveTo>
                  <a:pt x="446456" y="877965"/>
                </a:moveTo>
                <a:lnTo>
                  <a:pt x="3033202" y="877965"/>
                </a:lnTo>
                <a:lnTo>
                  <a:pt x="3478814" y="1666617"/>
                </a:lnTo>
                <a:lnTo>
                  <a:pt x="0" y="1666617"/>
                </a:lnTo>
                <a:close/>
                <a:moveTo>
                  <a:pt x="446456" y="0"/>
                </a:moveTo>
                <a:lnTo>
                  <a:pt x="3033202" y="0"/>
                </a:lnTo>
                <a:lnTo>
                  <a:pt x="3478814" y="788652"/>
                </a:lnTo>
                <a:lnTo>
                  <a:pt x="0" y="788652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>
            <a:lvl1pPr algn="ctr"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ED9150D-1613-F146-E32A-0CB05393DF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  <p:pic>
        <p:nvPicPr>
          <p:cNvPr id="4" name="Graphic 25">
            <a:extLst>
              <a:ext uri="{FF2B5EF4-FFF2-40B4-BE49-F238E27FC236}">
                <a16:creationId xmlns:a16="http://schemas.microsoft.com/office/drawing/2014/main" id="{B2D1A320-0696-ECEC-2D41-63A6520A515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4975" y="4483099"/>
            <a:ext cx="1425722" cy="469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8330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4" userDrawn="1">
          <p15:clr>
            <a:srgbClr val="F26B43"/>
          </p15:clr>
        </p15:guide>
        <p15:guide id="3" orient="horz" pos="270" userDrawn="1">
          <p15:clr>
            <a:srgbClr val="547EBF"/>
          </p15:clr>
        </p15:guide>
        <p15:guide id="4" pos="272" userDrawn="1">
          <p15:clr>
            <a:srgbClr val="547EBF"/>
          </p15:clr>
        </p15:guide>
        <p15:guide id="5" orient="horz" pos="518" userDrawn="1">
          <p15:clr>
            <a:srgbClr val="547EBF"/>
          </p15:clr>
        </p15:guide>
        <p15:guide id="6" orient="horz" pos="2822" userDrawn="1">
          <p15:clr>
            <a:srgbClr val="F26B43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abel Cover -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918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918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sp>
        <p:nvSpPr>
          <p:cNvPr id="3" name="Picture Placeholder 19">
            <a:extLst>
              <a:ext uri="{FF2B5EF4-FFF2-40B4-BE49-F238E27FC236}">
                <a16:creationId xmlns:a16="http://schemas.microsoft.com/office/drawing/2014/main" id="{225CEF58-569D-9BFC-90A5-8CD7AAA050F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028600" y="411164"/>
            <a:ext cx="3682128" cy="3924299"/>
          </a:xfrm>
          <a:custGeom>
            <a:avLst/>
            <a:gdLst>
              <a:gd name="connsiteX0" fmla="*/ 0 w 4171131"/>
              <a:gd name="connsiteY0" fmla="*/ 1 h 4445464"/>
              <a:gd name="connsiteX1" fmla="*/ 943908 w 4171131"/>
              <a:gd name="connsiteY1" fmla="*/ 569527 h 4445464"/>
              <a:gd name="connsiteX2" fmla="*/ 943908 w 4171131"/>
              <a:gd name="connsiteY2" fmla="*/ 3875937 h 4445464"/>
              <a:gd name="connsiteX3" fmla="*/ 0 w 4171131"/>
              <a:gd name="connsiteY3" fmla="*/ 4445464 h 4445464"/>
              <a:gd name="connsiteX4" fmla="*/ 3227322 w 4171131"/>
              <a:gd name="connsiteY4" fmla="*/ 0 h 4445464"/>
              <a:gd name="connsiteX5" fmla="*/ 4171131 w 4171131"/>
              <a:gd name="connsiteY5" fmla="*/ 569527 h 4445464"/>
              <a:gd name="connsiteX6" fmla="*/ 4171131 w 4171131"/>
              <a:gd name="connsiteY6" fmla="*/ 3875937 h 4445464"/>
              <a:gd name="connsiteX7" fmla="*/ 3227322 w 4171131"/>
              <a:gd name="connsiteY7" fmla="*/ 4445464 h 4445464"/>
              <a:gd name="connsiteX8" fmla="*/ 2131400 w 4171131"/>
              <a:gd name="connsiteY8" fmla="*/ 0 h 4445464"/>
              <a:gd name="connsiteX9" fmla="*/ 3105631 w 4171131"/>
              <a:gd name="connsiteY9" fmla="*/ 569527 h 4445464"/>
              <a:gd name="connsiteX10" fmla="*/ 3105631 w 4171131"/>
              <a:gd name="connsiteY10" fmla="*/ 3875937 h 4445464"/>
              <a:gd name="connsiteX11" fmla="*/ 2131400 w 4171131"/>
              <a:gd name="connsiteY11" fmla="*/ 4445464 h 4445464"/>
              <a:gd name="connsiteX12" fmla="*/ 1065699 w 4171131"/>
              <a:gd name="connsiteY12" fmla="*/ 0 h 4445464"/>
              <a:gd name="connsiteX13" fmla="*/ 2040031 w 4171131"/>
              <a:gd name="connsiteY13" fmla="*/ 569527 h 4445464"/>
              <a:gd name="connsiteX14" fmla="*/ 2040031 w 4171131"/>
              <a:gd name="connsiteY14" fmla="*/ 3875937 h 4445464"/>
              <a:gd name="connsiteX15" fmla="*/ 1065699 w 4171131"/>
              <a:gd name="connsiteY15" fmla="*/ 4445464 h 4445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171131" h="4445464">
                <a:moveTo>
                  <a:pt x="0" y="1"/>
                </a:moveTo>
                <a:lnTo>
                  <a:pt x="943908" y="569527"/>
                </a:lnTo>
                <a:lnTo>
                  <a:pt x="943908" y="3875937"/>
                </a:lnTo>
                <a:lnTo>
                  <a:pt x="0" y="4445464"/>
                </a:lnTo>
                <a:close/>
                <a:moveTo>
                  <a:pt x="3227322" y="0"/>
                </a:moveTo>
                <a:lnTo>
                  <a:pt x="4171131" y="569527"/>
                </a:lnTo>
                <a:lnTo>
                  <a:pt x="4171131" y="3875937"/>
                </a:lnTo>
                <a:lnTo>
                  <a:pt x="3227322" y="4445464"/>
                </a:lnTo>
                <a:close/>
                <a:moveTo>
                  <a:pt x="2131400" y="0"/>
                </a:moveTo>
                <a:lnTo>
                  <a:pt x="3105631" y="569527"/>
                </a:lnTo>
                <a:lnTo>
                  <a:pt x="3105631" y="3875937"/>
                </a:lnTo>
                <a:lnTo>
                  <a:pt x="2131400" y="4445464"/>
                </a:lnTo>
                <a:close/>
                <a:moveTo>
                  <a:pt x="1065699" y="0"/>
                </a:moveTo>
                <a:lnTo>
                  <a:pt x="2040031" y="569527"/>
                </a:lnTo>
                <a:lnTo>
                  <a:pt x="2040031" y="3875937"/>
                </a:lnTo>
                <a:lnTo>
                  <a:pt x="1065699" y="4445464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insert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94ACFC5-D53C-B324-758C-416E26F66A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  <p:pic>
        <p:nvPicPr>
          <p:cNvPr id="4" name="Graphic 25">
            <a:extLst>
              <a:ext uri="{FF2B5EF4-FFF2-40B4-BE49-F238E27FC236}">
                <a16:creationId xmlns:a16="http://schemas.microsoft.com/office/drawing/2014/main" id="{A56E235E-3333-FC12-8934-68888C9251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4975" y="4483099"/>
            <a:ext cx="1425722" cy="469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069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4" userDrawn="1">
          <p15:clr>
            <a:srgbClr val="F26B43"/>
          </p15:clr>
        </p15:guide>
        <p15:guide id="2" orient="horz" pos="518" userDrawn="1">
          <p15:clr>
            <a:srgbClr val="547EBF"/>
          </p15:clr>
        </p15:guide>
        <p15:guide id="3" orient="horz" pos="270" userDrawn="1">
          <p15:clr>
            <a:srgbClr val="547EBF"/>
          </p15:clr>
        </p15:guide>
        <p15:guide id="4" pos="272" userDrawn="1">
          <p15:clr>
            <a:srgbClr val="547EBF"/>
          </p15:clr>
        </p15:guide>
        <p15:guide id="5" orient="horz" pos="2822" userDrawn="1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abel Cover -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704107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704107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C023564-A8C0-59B7-53F7-E6D3FBAED7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  <p:pic>
        <p:nvPicPr>
          <p:cNvPr id="7" name="Graphic 25">
            <a:extLst>
              <a:ext uri="{FF2B5EF4-FFF2-40B4-BE49-F238E27FC236}">
                <a16:creationId xmlns:a16="http://schemas.microsoft.com/office/drawing/2014/main" id="{0823AE8E-836A-E923-33BE-7F642DFB70D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4975" y="4483099"/>
            <a:ext cx="1425722" cy="469901"/>
          </a:xfrm>
          <a:prstGeom prst="rect">
            <a:avLst/>
          </a:prstGeom>
        </p:spPr>
      </p:pic>
      <p:sp>
        <p:nvSpPr>
          <p:cNvPr id="5" name="Picture Placeholder 11">
            <a:extLst>
              <a:ext uri="{FF2B5EF4-FFF2-40B4-BE49-F238E27FC236}">
                <a16:creationId xmlns:a16="http://schemas.microsoft.com/office/drawing/2014/main" id="{84DA8362-D30F-485D-0F81-8D4790ABA45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800442" y="428625"/>
            <a:ext cx="1905708" cy="3924299"/>
          </a:xfrm>
          <a:custGeom>
            <a:avLst/>
            <a:gdLst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3541647 w 4459850"/>
              <a:gd name="connsiteY4" fmla="*/ 0 h 4464050"/>
              <a:gd name="connsiteX5" fmla="*/ 3543399 w 4459850"/>
              <a:gd name="connsiteY5" fmla="*/ 0 h 4464050"/>
              <a:gd name="connsiteX6" fmla="*/ 3543399 w 4459850"/>
              <a:gd name="connsiteY6" fmla="*/ 4464050 h 4464050"/>
              <a:gd name="connsiteX7" fmla="*/ 3541650 w 4459850"/>
              <a:gd name="connsiteY7" fmla="*/ 4464050 h 4464050"/>
              <a:gd name="connsiteX8" fmla="*/ 2911872 w 4459850"/>
              <a:gd name="connsiteY8" fmla="*/ 3893419 h 4464050"/>
              <a:gd name="connsiteX9" fmla="*/ 2911872 w 4459850"/>
              <a:gd name="connsiteY9" fmla="*/ 570628 h 4464050"/>
              <a:gd name="connsiteX10" fmla="*/ 2793440 w 4459850"/>
              <a:gd name="connsiteY10" fmla="*/ 0 h 4464050"/>
              <a:gd name="connsiteX11" fmla="*/ 2794835 w 4459850"/>
              <a:gd name="connsiteY11" fmla="*/ 0 h 4464050"/>
              <a:gd name="connsiteX12" fmla="*/ 2794835 w 4459850"/>
              <a:gd name="connsiteY12" fmla="*/ 4464050 h 4464050"/>
              <a:gd name="connsiteX13" fmla="*/ 2793443 w 4459850"/>
              <a:gd name="connsiteY13" fmla="*/ 4464050 h 4464050"/>
              <a:gd name="connsiteX14" fmla="*/ 2292030 w 4459850"/>
              <a:gd name="connsiteY14" fmla="*/ 3893419 h 4464050"/>
              <a:gd name="connsiteX15" fmla="*/ 2292030 w 4459850"/>
              <a:gd name="connsiteY15" fmla="*/ 570628 h 4464050"/>
              <a:gd name="connsiteX16" fmla="*/ 1672385 w 4459850"/>
              <a:gd name="connsiteY16" fmla="*/ 0 h 4464050"/>
              <a:gd name="connsiteX17" fmla="*/ 1673781 w 4459850"/>
              <a:gd name="connsiteY17" fmla="*/ 0 h 4464050"/>
              <a:gd name="connsiteX18" fmla="*/ 2175191 w 4459850"/>
              <a:gd name="connsiteY18" fmla="*/ 570628 h 4464050"/>
              <a:gd name="connsiteX19" fmla="*/ 2175191 w 4459850"/>
              <a:gd name="connsiteY19" fmla="*/ 3893320 h 4464050"/>
              <a:gd name="connsiteX20" fmla="*/ 1673690 w 4459850"/>
              <a:gd name="connsiteY20" fmla="*/ 4464050 h 4464050"/>
              <a:gd name="connsiteX21" fmla="*/ 1672385 w 4459850"/>
              <a:gd name="connsiteY21" fmla="*/ 4464050 h 4464050"/>
              <a:gd name="connsiteX22" fmla="*/ 923822 w 4459850"/>
              <a:gd name="connsiteY22" fmla="*/ 0 h 4464050"/>
              <a:gd name="connsiteX23" fmla="*/ 925575 w 4459850"/>
              <a:gd name="connsiteY23" fmla="*/ 0 h 4464050"/>
              <a:gd name="connsiteX24" fmla="*/ 1555348 w 4459850"/>
              <a:gd name="connsiteY24" fmla="*/ 570628 h 4464050"/>
              <a:gd name="connsiteX25" fmla="*/ 1555348 w 4459850"/>
              <a:gd name="connsiteY25" fmla="*/ 3893320 h 4464050"/>
              <a:gd name="connsiteX26" fmla="*/ 925461 w 4459850"/>
              <a:gd name="connsiteY26" fmla="*/ 4464050 h 4464050"/>
              <a:gd name="connsiteX27" fmla="*/ 923822 w 4459850"/>
              <a:gd name="connsiteY27" fmla="*/ 4464050 h 4464050"/>
              <a:gd name="connsiteX28" fmla="*/ 0 w 4459850"/>
              <a:gd name="connsiteY28" fmla="*/ 0 h 4464050"/>
              <a:gd name="connsiteX29" fmla="*/ 2239 w 4459850"/>
              <a:gd name="connsiteY29" fmla="*/ 0 h 4464050"/>
              <a:gd name="connsiteX30" fmla="*/ 806883 w 4459850"/>
              <a:gd name="connsiteY30" fmla="*/ 570628 h 4464050"/>
              <a:gd name="connsiteX31" fmla="*/ 806883 w 4459850"/>
              <a:gd name="connsiteY31" fmla="*/ 3893419 h 4464050"/>
              <a:gd name="connsiteX32" fmla="*/ 2234 w 4459850"/>
              <a:gd name="connsiteY32" fmla="*/ 4464050 h 4464050"/>
              <a:gd name="connsiteX33" fmla="*/ 0 w 4459850"/>
              <a:gd name="connsiteY33" fmla="*/ 446405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793440 w 4459850"/>
              <a:gd name="connsiteY12" fmla="*/ 0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2292030 w 4459850"/>
              <a:gd name="connsiteY17" fmla="*/ 570628 h 4464050"/>
              <a:gd name="connsiteX18" fmla="*/ 2793440 w 4459850"/>
              <a:gd name="connsiteY18" fmla="*/ 0 h 4464050"/>
              <a:gd name="connsiteX19" fmla="*/ 1672385 w 4459850"/>
              <a:gd name="connsiteY19" fmla="*/ 0 h 4464050"/>
              <a:gd name="connsiteX20" fmla="*/ 1673781 w 4459850"/>
              <a:gd name="connsiteY20" fmla="*/ 0 h 4464050"/>
              <a:gd name="connsiteX21" fmla="*/ 2175191 w 4459850"/>
              <a:gd name="connsiteY21" fmla="*/ 570628 h 4464050"/>
              <a:gd name="connsiteX22" fmla="*/ 2175191 w 4459850"/>
              <a:gd name="connsiteY22" fmla="*/ 3893320 h 4464050"/>
              <a:gd name="connsiteX23" fmla="*/ 1673690 w 4459850"/>
              <a:gd name="connsiteY23" fmla="*/ 4464050 h 4464050"/>
              <a:gd name="connsiteX24" fmla="*/ 1672385 w 4459850"/>
              <a:gd name="connsiteY24" fmla="*/ 4464050 h 4464050"/>
              <a:gd name="connsiteX25" fmla="*/ 1672385 w 4459850"/>
              <a:gd name="connsiteY25" fmla="*/ 0 h 4464050"/>
              <a:gd name="connsiteX26" fmla="*/ 923822 w 4459850"/>
              <a:gd name="connsiteY26" fmla="*/ 0 h 4464050"/>
              <a:gd name="connsiteX27" fmla="*/ 925575 w 4459850"/>
              <a:gd name="connsiteY27" fmla="*/ 0 h 4464050"/>
              <a:gd name="connsiteX28" fmla="*/ 1555348 w 4459850"/>
              <a:gd name="connsiteY28" fmla="*/ 570628 h 4464050"/>
              <a:gd name="connsiteX29" fmla="*/ 1555348 w 4459850"/>
              <a:gd name="connsiteY29" fmla="*/ 3893320 h 4464050"/>
              <a:gd name="connsiteX30" fmla="*/ 925461 w 4459850"/>
              <a:gd name="connsiteY30" fmla="*/ 4464050 h 4464050"/>
              <a:gd name="connsiteX31" fmla="*/ 923822 w 4459850"/>
              <a:gd name="connsiteY31" fmla="*/ 4464050 h 4464050"/>
              <a:gd name="connsiteX32" fmla="*/ 923822 w 4459850"/>
              <a:gd name="connsiteY32" fmla="*/ 0 h 4464050"/>
              <a:gd name="connsiteX33" fmla="*/ 0 w 4459850"/>
              <a:gd name="connsiteY33" fmla="*/ 0 h 4464050"/>
              <a:gd name="connsiteX34" fmla="*/ 2239 w 4459850"/>
              <a:gd name="connsiteY34" fmla="*/ 0 h 4464050"/>
              <a:gd name="connsiteX35" fmla="*/ 806883 w 4459850"/>
              <a:gd name="connsiteY35" fmla="*/ 3893419 h 4464050"/>
              <a:gd name="connsiteX36" fmla="*/ 2234 w 4459850"/>
              <a:gd name="connsiteY36" fmla="*/ 4464050 h 4464050"/>
              <a:gd name="connsiteX37" fmla="*/ 0 w 4459850"/>
              <a:gd name="connsiteY37" fmla="*/ 4464050 h 4464050"/>
              <a:gd name="connsiteX38" fmla="*/ 0 w 4459850"/>
              <a:gd name="connsiteY38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793440 w 4459850"/>
              <a:gd name="connsiteY12" fmla="*/ 0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2292030 w 4459850"/>
              <a:gd name="connsiteY17" fmla="*/ 570628 h 4464050"/>
              <a:gd name="connsiteX18" fmla="*/ 2793440 w 4459850"/>
              <a:gd name="connsiteY18" fmla="*/ 0 h 4464050"/>
              <a:gd name="connsiteX19" fmla="*/ 1672385 w 4459850"/>
              <a:gd name="connsiteY19" fmla="*/ 0 h 4464050"/>
              <a:gd name="connsiteX20" fmla="*/ 1673781 w 4459850"/>
              <a:gd name="connsiteY20" fmla="*/ 0 h 4464050"/>
              <a:gd name="connsiteX21" fmla="*/ 2175191 w 4459850"/>
              <a:gd name="connsiteY21" fmla="*/ 570628 h 4464050"/>
              <a:gd name="connsiteX22" fmla="*/ 2175191 w 4459850"/>
              <a:gd name="connsiteY22" fmla="*/ 3893320 h 4464050"/>
              <a:gd name="connsiteX23" fmla="*/ 1673690 w 4459850"/>
              <a:gd name="connsiteY23" fmla="*/ 4464050 h 4464050"/>
              <a:gd name="connsiteX24" fmla="*/ 1672385 w 4459850"/>
              <a:gd name="connsiteY24" fmla="*/ 4464050 h 4464050"/>
              <a:gd name="connsiteX25" fmla="*/ 1672385 w 4459850"/>
              <a:gd name="connsiteY25" fmla="*/ 0 h 4464050"/>
              <a:gd name="connsiteX26" fmla="*/ 923822 w 4459850"/>
              <a:gd name="connsiteY26" fmla="*/ 0 h 4464050"/>
              <a:gd name="connsiteX27" fmla="*/ 925575 w 4459850"/>
              <a:gd name="connsiteY27" fmla="*/ 0 h 4464050"/>
              <a:gd name="connsiteX28" fmla="*/ 1555348 w 4459850"/>
              <a:gd name="connsiteY28" fmla="*/ 570628 h 4464050"/>
              <a:gd name="connsiteX29" fmla="*/ 1555348 w 4459850"/>
              <a:gd name="connsiteY29" fmla="*/ 3893320 h 4464050"/>
              <a:gd name="connsiteX30" fmla="*/ 925461 w 4459850"/>
              <a:gd name="connsiteY30" fmla="*/ 4464050 h 4464050"/>
              <a:gd name="connsiteX31" fmla="*/ 923822 w 4459850"/>
              <a:gd name="connsiteY31" fmla="*/ 4464050 h 4464050"/>
              <a:gd name="connsiteX32" fmla="*/ 923822 w 4459850"/>
              <a:gd name="connsiteY32" fmla="*/ 0 h 4464050"/>
              <a:gd name="connsiteX33" fmla="*/ 0 w 4459850"/>
              <a:gd name="connsiteY33" fmla="*/ 4464050 h 4464050"/>
              <a:gd name="connsiteX34" fmla="*/ 2239 w 4459850"/>
              <a:gd name="connsiteY34" fmla="*/ 0 h 4464050"/>
              <a:gd name="connsiteX35" fmla="*/ 806883 w 4459850"/>
              <a:gd name="connsiteY35" fmla="*/ 3893419 h 4464050"/>
              <a:gd name="connsiteX36" fmla="*/ 2234 w 4459850"/>
              <a:gd name="connsiteY36" fmla="*/ 4464050 h 4464050"/>
              <a:gd name="connsiteX37" fmla="*/ 0 w 4459850"/>
              <a:gd name="connsiteY37" fmla="*/ 4464050 h 4464050"/>
              <a:gd name="connsiteX0" fmla="*/ 4457616 w 4457616"/>
              <a:gd name="connsiteY0" fmla="*/ 3569 h 4464050"/>
              <a:gd name="connsiteX1" fmla="*/ 4457616 w 4457616"/>
              <a:gd name="connsiteY1" fmla="*/ 4460478 h 4464050"/>
              <a:gd name="connsiteX2" fmla="*/ 3658004 w 4457616"/>
              <a:gd name="connsiteY2" fmla="*/ 3893419 h 4464050"/>
              <a:gd name="connsiteX3" fmla="*/ 3658004 w 4457616"/>
              <a:gd name="connsiteY3" fmla="*/ 570628 h 4464050"/>
              <a:gd name="connsiteX4" fmla="*/ 4457616 w 4457616"/>
              <a:gd name="connsiteY4" fmla="*/ 3569 h 4464050"/>
              <a:gd name="connsiteX5" fmla="*/ 3539413 w 4457616"/>
              <a:gd name="connsiteY5" fmla="*/ 0 h 4464050"/>
              <a:gd name="connsiteX6" fmla="*/ 3541165 w 4457616"/>
              <a:gd name="connsiteY6" fmla="*/ 0 h 4464050"/>
              <a:gd name="connsiteX7" fmla="*/ 3541165 w 4457616"/>
              <a:gd name="connsiteY7" fmla="*/ 4464050 h 4464050"/>
              <a:gd name="connsiteX8" fmla="*/ 3539416 w 4457616"/>
              <a:gd name="connsiteY8" fmla="*/ 4464050 h 4464050"/>
              <a:gd name="connsiteX9" fmla="*/ 2909638 w 4457616"/>
              <a:gd name="connsiteY9" fmla="*/ 3893419 h 4464050"/>
              <a:gd name="connsiteX10" fmla="*/ 2909638 w 4457616"/>
              <a:gd name="connsiteY10" fmla="*/ 570628 h 4464050"/>
              <a:gd name="connsiteX11" fmla="*/ 3539413 w 4457616"/>
              <a:gd name="connsiteY11" fmla="*/ 0 h 4464050"/>
              <a:gd name="connsiteX12" fmla="*/ 2791206 w 4457616"/>
              <a:gd name="connsiteY12" fmla="*/ 0 h 4464050"/>
              <a:gd name="connsiteX13" fmla="*/ 2792601 w 4457616"/>
              <a:gd name="connsiteY13" fmla="*/ 0 h 4464050"/>
              <a:gd name="connsiteX14" fmla="*/ 2792601 w 4457616"/>
              <a:gd name="connsiteY14" fmla="*/ 4464050 h 4464050"/>
              <a:gd name="connsiteX15" fmla="*/ 2791209 w 4457616"/>
              <a:gd name="connsiteY15" fmla="*/ 4464050 h 4464050"/>
              <a:gd name="connsiteX16" fmla="*/ 2289796 w 4457616"/>
              <a:gd name="connsiteY16" fmla="*/ 3893419 h 4464050"/>
              <a:gd name="connsiteX17" fmla="*/ 2289796 w 4457616"/>
              <a:gd name="connsiteY17" fmla="*/ 570628 h 4464050"/>
              <a:gd name="connsiteX18" fmla="*/ 2791206 w 4457616"/>
              <a:gd name="connsiteY18" fmla="*/ 0 h 4464050"/>
              <a:gd name="connsiteX19" fmla="*/ 1670151 w 4457616"/>
              <a:gd name="connsiteY19" fmla="*/ 0 h 4464050"/>
              <a:gd name="connsiteX20" fmla="*/ 1671547 w 4457616"/>
              <a:gd name="connsiteY20" fmla="*/ 0 h 4464050"/>
              <a:gd name="connsiteX21" fmla="*/ 2172957 w 4457616"/>
              <a:gd name="connsiteY21" fmla="*/ 570628 h 4464050"/>
              <a:gd name="connsiteX22" fmla="*/ 2172957 w 4457616"/>
              <a:gd name="connsiteY22" fmla="*/ 3893320 h 4464050"/>
              <a:gd name="connsiteX23" fmla="*/ 1671456 w 4457616"/>
              <a:gd name="connsiteY23" fmla="*/ 4464050 h 4464050"/>
              <a:gd name="connsiteX24" fmla="*/ 1670151 w 4457616"/>
              <a:gd name="connsiteY24" fmla="*/ 4464050 h 4464050"/>
              <a:gd name="connsiteX25" fmla="*/ 1670151 w 4457616"/>
              <a:gd name="connsiteY25" fmla="*/ 0 h 4464050"/>
              <a:gd name="connsiteX26" fmla="*/ 921588 w 4457616"/>
              <a:gd name="connsiteY26" fmla="*/ 0 h 4464050"/>
              <a:gd name="connsiteX27" fmla="*/ 923341 w 4457616"/>
              <a:gd name="connsiteY27" fmla="*/ 0 h 4464050"/>
              <a:gd name="connsiteX28" fmla="*/ 1553114 w 4457616"/>
              <a:gd name="connsiteY28" fmla="*/ 570628 h 4464050"/>
              <a:gd name="connsiteX29" fmla="*/ 1553114 w 4457616"/>
              <a:gd name="connsiteY29" fmla="*/ 3893320 h 4464050"/>
              <a:gd name="connsiteX30" fmla="*/ 923227 w 4457616"/>
              <a:gd name="connsiteY30" fmla="*/ 4464050 h 4464050"/>
              <a:gd name="connsiteX31" fmla="*/ 921588 w 4457616"/>
              <a:gd name="connsiteY31" fmla="*/ 4464050 h 4464050"/>
              <a:gd name="connsiteX32" fmla="*/ 921588 w 4457616"/>
              <a:gd name="connsiteY32" fmla="*/ 0 h 4464050"/>
              <a:gd name="connsiteX33" fmla="*/ 0 w 4457616"/>
              <a:gd name="connsiteY33" fmla="*/ 4464050 h 4464050"/>
              <a:gd name="connsiteX34" fmla="*/ 5 w 4457616"/>
              <a:gd name="connsiteY34" fmla="*/ 0 h 4464050"/>
              <a:gd name="connsiteX35" fmla="*/ 804649 w 4457616"/>
              <a:gd name="connsiteY35" fmla="*/ 3893419 h 4464050"/>
              <a:gd name="connsiteX36" fmla="*/ 0 w 4457616"/>
              <a:gd name="connsiteY36" fmla="*/ 4464050 h 4464050"/>
              <a:gd name="connsiteX0" fmla="*/ 4457611 w 4457611"/>
              <a:gd name="connsiteY0" fmla="*/ 3569 h 4464050"/>
              <a:gd name="connsiteX1" fmla="*/ 4457611 w 4457611"/>
              <a:gd name="connsiteY1" fmla="*/ 4460478 h 4464050"/>
              <a:gd name="connsiteX2" fmla="*/ 3657999 w 4457611"/>
              <a:gd name="connsiteY2" fmla="*/ 3893419 h 4464050"/>
              <a:gd name="connsiteX3" fmla="*/ 3657999 w 4457611"/>
              <a:gd name="connsiteY3" fmla="*/ 570628 h 4464050"/>
              <a:gd name="connsiteX4" fmla="*/ 4457611 w 4457611"/>
              <a:gd name="connsiteY4" fmla="*/ 3569 h 4464050"/>
              <a:gd name="connsiteX5" fmla="*/ 3539408 w 4457611"/>
              <a:gd name="connsiteY5" fmla="*/ 0 h 4464050"/>
              <a:gd name="connsiteX6" fmla="*/ 3541160 w 4457611"/>
              <a:gd name="connsiteY6" fmla="*/ 0 h 4464050"/>
              <a:gd name="connsiteX7" fmla="*/ 3541160 w 4457611"/>
              <a:gd name="connsiteY7" fmla="*/ 4464050 h 4464050"/>
              <a:gd name="connsiteX8" fmla="*/ 3539411 w 4457611"/>
              <a:gd name="connsiteY8" fmla="*/ 4464050 h 4464050"/>
              <a:gd name="connsiteX9" fmla="*/ 2909633 w 4457611"/>
              <a:gd name="connsiteY9" fmla="*/ 3893419 h 4464050"/>
              <a:gd name="connsiteX10" fmla="*/ 2909633 w 4457611"/>
              <a:gd name="connsiteY10" fmla="*/ 570628 h 4464050"/>
              <a:gd name="connsiteX11" fmla="*/ 3539408 w 4457611"/>
              <a:gd name="connsiteY11" fmla="*/ 0 h 4464050"/>
              <a:gd name="connsiteX12" fmla="*/ 2791201 w 4457611"/>
              <a:gd name="connsiteY12" fmla="*/ 0 h 4464050"/>
              <a:gd name="connsiteX13" fmla="*/ 2792596 w 4457611"/>
              <a:gd name="connsiteY13" fmla="*/ 0 h 4464050"/>
              <a:gd name="connsiteX14" fmla="*/ 2792596 w 4457611"/>
              <a:gd name="connsiteY14" fmla="*/ 4464050 h 4464050"/>
              <a:gd name="connsiteX15" fmla="*/ 2791204 w 4457611"/>
              <a:gd name="connsiteY15" fmla="*/ 4464050 h 4464050"/>
              <a:gd name="connsiteX16" fmla="*/ 2289791 w 4457611"/>
              <a:gd name="connsiteY16" fmla="*/ 3893419 h 4464050"/>
              <a:gd name="connsiteX17" fmla="*/ 2289791 w 4457611"/>
              <a:gd name="connsiteY17" fmla="*/ 570628 h 4464050"/>
              <a:gd name="connsiteX18" fmla="*/ 2791201 w 4457611"/>
              <a:gd name="connsiteY18" fmla="*/ 0 h 4464050"/>
              <a:gd name="connsiteX19" fmla="*/ 1670146 w 4457611"/>
              <a:gd name="connsiteY19" fmla="*/ 0 h 4464050"/>
              <a:gd name="connsiteX20" fmla="*/ 1671542 w 4457611"/>
              <a:gd name="connsiteY20" fmla="*/ 0 h 4464050"/>
              <a:gd name="connsiteX21" fmla="*/ 2172952 w 4457611"/>
              <a:gd name="connsiteY21" fmla="*/ 570628 h 4464050"/>
              <a:gd name="connsiteX22" fmla="*/ 2172952 w 4457611"/>
              <a:gd name="connsiteY22" fmla="*/ 3893320 h 4464050"/>
              <a:gd name="connsiteX23" fmla="*/ 1671451 w 4457611"/>
              <a:gd name="connsiteY23" fmla="*/ 4464050 h 4464050"/>
              <a:gd name="connsiteX24" fmla="*/ 1670146 w 4457611"/>
              <a:gd name="connsiteY24" fmla="*/ 4464050 h 4464050"/>
              <a:gd name="connsiteX25" fmla="*/ 1670146 w 4457611"/>
              <a:gd name="connsiteY25" fmla="*/ 0 h 4464050"/>
              <a:gd name="connsiteX26" fmla="*/ 921583 w 4457611"/>
              <a:gd name="connsiteY26" fmla="*/ 0 h 4464050"/>
              <a:gd name="connsiteX27" fmla="*/ 923336 w 4457611"/>
              <a:gd name="connsiteY27" fmla="*/ 0 h 4464050"/>
              <a:gd name="connsiteX28" fmla="*/ 1553109 w 4457611"/>
              <a:gd name="connsiteY28" fmla="*/ 570628 h 4464050"/>
              <a:gd name="connsiteX29" fmla="*/ 1553109 w 4457611"/>
              <a:gd name="connsiteY29" fmla="*/ 3893320 h 4464050"/>
              <a:gd name="connsiteX30" fmla="*/ 923222 w 4457611"/>
              <a:gd name="connsiteY30" fmla="*/ 4464050 h 4464050"/>
              <a:gd name="connsiteX31" fmla="*/ 921583 w 4457611"/>
              <a:gd name="connsiteY31" fmla="*/ 4464050 h 4464050"/>
              <a:gd name="connsiteX32" fmla="*/ 921583 w 4457611"/>
              <a:gd name="connsiteY32" fmla="*/ 0 h 4464050"/>
              <a:gd name="connsiteX33" fmla="*/ 804644 w 4457611"/>
              <a:gd name="connsiteY33" fmla="*/ 3893419 h 4464050"/>
              <a:gd name="connsiteX34" fmla="*/ 0 w 4457611"/>
              <a:gd name="connsiteY34" fmla="*/ 0 h 4464050"/>
              <a:gd name="connsiteX35" fmla="*/ 804644 w 4457611"/>
              <a:gd name="connsiteY35" fmla="*/ 3893419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0 h 4464050"/>
              <a:gd name="connsiteX27" fmla="*/ 1753 w 3536028"/>
              <a:gd name="connsiteY27" fmla="*/ 0 h 4464050"/>
              <a:gd name="connsiteX28" fmla="*/ 631526 w 3536028"/>
              <a:gd name="connsiteY28" fmla="*/ 570628 h 4464050"/>
              <a:gd name="connsiteX29" fmla="*/ 631526 w 3536028"/>
              <a:gd name="connsiteY29" fmla="*/ 3893320 h 4464050"/>
              <a:gd name="connsiteX30" fmla="*/ 1639 w 3536028"/>
              <a:gd name="connsiteY30" fmla="*/ 4464050 h 4464050"/>
              <a:gd name="connsiteX31" fmla="*/ 0 w 3536028"/>
              <a:gd name="connsiteY31" fmla="*/ 4464050 h 4464050"/>
              <a:gd name="connsiteX32" fmla="*/ 0 w 3536028"/>
              <a:gd name="connsiteY32" fmla="*/ 0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4464050 h 4464050"/>
              <a:gd name="connsiteX27" fmla="*/ 1753 w 3536028"/>
              <a:gd name="connsiteY27" fmla="*/ 0 h 4464050"/>
              <a:gd name="connsiteX28" fmla="*/ 631526 w 3536028"/>
              <a:gd name="connsiteY28" fmla="*/ 570628 h 4464050"/>
              <a:gd name="connsiteX29" fmla="*/ 631526 w 3536028"/>
              <a:gd name="connsiteY29" fmla="*/ 3893320 h 4464050"/>
              <a:gd name="connsiteX30" fmla="*/ 1639 w 3536028"/>
              <a:gd name="connsiteY30" fmla="*/ 4464050 h 4464050"/>
              <a:gd name="connsiteX31" fmla="*/ 0 w 3536028"/>
              <a:gd name="connsiteY31" fmla="*/ 4464050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4464050 h 4464050"/>
              <a:gd name="connsiteX27" fmla="*/ 1753 w 3536028"/>
              <a:gd name="connsiteY27" fmla="*/ 0 h 4464050"/>
              <a:gd name="connsiteX28" fmla="*/ 631526 w 3536028"/>
              <a:gd name="connsiteY28" fmla="*/ 3893320 h 4464050"/>
              <a:gd name="connsiteX29" fmla="*/ 1639 w 3536028"/>
              <a:gd name="connsiteY29" fmla="*/ 4464050 h 4464050"/>
              <a:gd name="connsiteX30" fmla="*/ 0 w 3536028"/>
              <a:gd name="connsiteY30" fmla="*/ 4464050 h 4464050"/>
              <a:gd name="connsiteX0" fmla="*/ 3563155 w 3563155"/>
              <a:gd name="connsiteY0" fmla="*/ 3569 h 4464050"/>
              <a:gd name="connsiteX1" fmla="*/ 3563155 w 3563155"/>
              <a:gd name="connsiteY1" fmla="*/ 4460478 h 4464050"/>
              <a:gd name="connsiteX2" fmla="*/ 2763543 w 3563155"/>
              <a:gd name="connsiteY2" fmla="*/ 3893419 h 4464050"/>
              <a:gd name="connsiteX3" fmla="*/ 2763543 w 3563155"/>
              <a:gd name="connsiteY3" fmla="*/ 570628 h 4464050"/>
              <a:gd name="connsiteX4" fmla="*/ 3563155 w 3563155"/>
              <a:gd name="connsiteY4" fmla="*/ 3569 h 4464050"/>
              <a:gd name="connsiteX5" fmla="*/ 2644952 w 3563155"/>
              <a:gd name="connsiteY5" fmla="*/ 0 h 4464050"/>
              <a:gd name="connsiteX6" fmla="*/ 2646704 w 3563155"/>
              <a:gd name="connsiteY6" fmla="*/ 0 h 4464050"/>
              <a:gd name="connsiteX7" fmla="*/ 2646704 w 3563155"/>
              <a:gd name="connsiteY7" fmla="*/ 4464050 h 4464050"/>
              <a:gd name="connsiteX8" fmla="*/ 2644955 w 3563155"/>
              <a:gd name="connsiteY8" fmla="*/ 4464050 h 4464050"/>
              <a:gd name="connsiteX9" fmla="*/ 2015177 w 3563155"/>
              <a:gd name="connsiteY9" fmla="*/ 3893419 h 4464050"/>
              <a:gd name="connsiteX10" fmla="*/ 2015177 w 3563155"/>
              <a:gd name="connsiteY10" fmla="*/ 570628 h 4464050"/>
              <a:gd name="connsiteX11" fmla="*/ 2644952 w 3563155"/>
              <a:gd name="connsiteY11" fmla="*/ 0 h 4464050"/>
              <a:gd name="connsiteX12" fmla="*/ 1896745 w 3563155"/>
              <a:gd name="connsiteY12" fmla="*/ 0 h 4464050"/>
              <a:gd name="connsiteX13" fmla="*/ 1898140 w 3563155"/>
              <a:gd name="connsiteY13" fmla="*/ 0 h 4464050"/>
              <a:gd name="connsiteX14" fmla="*/ 1898140 w 3563155"/>
              <a:gd name="connsiteY14" fmla="*/ 4464050 h 4464050"/>
              <a:gd name="connsiteX15" fmla="*/ 1896748 w 3563155"/>
              <a:gd name="connsiteY15" fmla="*/ 4464050 h 4464050"/>
              <a:gd name="connsiteX16" fmla="*/ 1395335 w 3563155"/>
              <a:gd name="connsiteY16" fmla="*/ 3893419 h 4464050"/>
              <a:gd name="connsiteX17" fmla="*/ 1395335 w 3563155"/>
              <a:gd name="connsiteY17" fmla="*/ 570628 h 4464050"/>
              <a:gd name="connsiteX18" fmla="*/ 1896745 w 3563155"/>
              <a:gd name="connsiteY18" fmla="*/ 0 h 4464050"/>
              <a:gd name="connsiteX19" fmla="*/ 775690 w 3563155"/>
              <a:gd name="connsiteY19" fmla="*/ 0 h 4464050"/>
              <a:gd name="connsiteX20" fmla="*/ 777086 w 3563155"/>
              <a:gd name="connsiteY20" fmla="*/ 0 h 4464050"/>
              <a:gd name="connsiteX21" fmla="*/ 1278496 w 3563155"/>
              <a:gd name="connsiteY21" fmla="*/ 570628 h 4464050"/>
              <a:gd name="connsiteX22" fmla="*/ 1278496 w 3563155"/>
              <a:gd name="connsiteY22" fmla="*/ 3893320 h 4464050"/>
              <a:gd name="connsiteX23" fmla="*/ 776995 w 3563155"/>
              <a:gd name="connsiteY23" fmla="*/ 4464050 h 4464050"/>
              <a:gd name="connsiteX24" fmla="*/ 775690 w 3563155"/>
              <a:gd name="connsiteY24" fmla="*/ 4464050 h 4464050"/>
              <a:gd name="connsiteX25" fmla="*/ 775690 w 3563155"/>
              <a:gd name="connsiteY25" fmla="*/ 0 h 4464050"/>
              <a:gd name="connsiteX26" fmla="*/ 27127 w 3563155"/>
              <a:gd name="connsiteY26" fmla="*/ 4464050 h 4464050"/>
              <a:gd name="connsiteX27" fmla="*/ 8 w 3563155"/>
              <a:gd name="connsiteY27" fmla="*/ 28872 h 4464050"/>
              <a:gd name="connsiteX28" fmla="*/ 658653 w 3563155"/>
              <a:gd name="connsiteY28" fmla="*/ 3893320 h 4464050"/>
              <a:gd name="connsiteX29" fmla="*/ 28766 w 3563155"/>
              <a:gd name="connsiteY29" fmla="*/ 4464050 h 4464050"/>
              <a:gd name="connsiteX30" fmla="*/ 27127 w 3563155"/>
              <a:gd name="connsiteY30" fmla="*/ 4464050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4464050 h 4464050"/>
              <a:gd name="connsiteX27" fmla="*/ 631526 w 3536028"/>
              <a:gd name="connsiteY27" fmla="*/ 3893320 h 4464050"/>
              <a:gd name="connsiteX28" fmla="*/ 1639 w 3536028"/>
              <a:gd name="connsiteY28" fmla="*/ 4464050 h 4464050"/>
              <a:gd name="connsiteX29" fmla="*/ 0 w 3536028"/>
              <a:gd name="connsiteY29" fmla="*/ 4464050 h 4464050"/>
              <a:gd name="connsiteX0" fmla="*/ 3534389 w 3534389"/>
              <a:gd name="connsiteY0" fmla="*/ 3569 h 4464050"/>
              <a:gd name="connsiteX1" fmla="*/ 3534389 w 3534389"/>
              <a:gd name="connsiteY1" fmla="*/ 4460478 h 4464050"/>
              <a:gd name="connsiteX2" fmla="*/ 2734777 w 3534389"/>
              <a:gd name="connsiteY2" fmla="*/ 3893419 h 4464050"/>
              <a:gd name="connsiteX3" fmla="*/ 2734777 w 3534389"/>
              <a:gd name="connsiteY3" fmla="*/ 570628 h 4464050"/>
              <a:gd name="connsiteX4" fmla="*/ 3534389 w 3534389"/>
              <a:gd name="connsiteY4" fmla="*/ 3569 h 4464050"/>
              <a:gd name="connsiteX5" fmla="*/ 2616186 w 3534389"/>
              <a:gd name="connsiteY5" fmla="*/ 0 h 4464050"/>
              <a:gd name="connsiteX6" fmla="*/ 2617938 w 3534389"/>
              <a:gd name="connsiteY6" fmla="*/ 0 h 4464050"/>
              <a:gd name="connsiteX7" fmla="*/ 2617938 w 3534389"/>
              <a:gd name="connsiteY7" fmla="*/ 4464050 h 4464050"/>
              <a:gd name="connsiteX8" fmla="*/ 2616189 w 3534389"/>
              <a:gd name="connsiteY8" fmla="*/ 4464050 h 4464050"/>
              <a:gd name="connsiteX9" fmla="*/ 1986411 w 3534389"/>
              <a:gd name="connsiteY9" fmla="*/ 3893419 h 4464050"/>
              <a:gd name="connsiteX10" fmla="*/ 1986411 w 3534389"/>
              <a:gd name="connsiteY10" fmla="*/ 570628 h 4464050"/>
              <a:gd name="connsiteX11" fmla="*/ 2616186 w 3534389"/>
              <a:gd name="connsiteY11" fmla="*/ 0 h 4464050"/>
              <a:gd name="connsiteX12" fmla="*/ 1867979 w 3534389"/>
              <a:gd name="connsiteY12" fmla="*/ 0 h 4464050"/>
              <a:gd name="connsiteX13" fmla="*/ 1869374 w 3534389"/>
              <a:gd name="connsiteY13" fmla="*/ 0 h 4464050"/>
              <a:gd name="connsiteX14" fmla="*/ 1869374 w 3534389"/>
              <a:gd name="connsiteY14" fmla="*/ 4464050 h 4464050"/>
              <a:gd name="connsiteX15" fmla="*/ 1867982 w 3534389"/>
              <a:gd name="connsiteY15" fmla="*/ 4464050 h 4464050"/>
              <a:gd name="connsiteX16" fmla="*/ 1366569 w 3534389"/>
              <a:gd name="connsiteY16" fmla="*/ 3893419 h 4464050"/>
              <a:gd name="connsiteX17" fmla="*/ 1366569 w 3534389"/>
              <a:gd name="connsiteY17" fmla="*/ 570628 h 4464050"/>
              <a:gd name="connsiteX18" fmla="*/ 1867979 w 3534389"/>
              <a:gd name="connsiteY18" fmla="*/ 0 h 4464050"/>
              <a:gd name="connsiteX19" fmla="*/ 746924 w 3534389"/>
              <a:gd name="connsiteY19" fmla="*/ 0 h 4464050"/>
              <a:gd name="connsiteX20" fmla="*/ 748320 w 3534389"/>
              <a:gd name="connsiteY20" fmla="*/ 0 h 4464050"/>
              <a:gd name="connsiteX21" fmla="*/ 1249730 w 3534389"/>
              <a:gd name="connsiteY21" fmla="*/ 570628 h 4464050"/>
              <a:gd name="connsiteX22" fmla="*/ 1249730 w 3534389"/>
              <a:gd name="connsiteY22" fmla="*/ 3893320 h 4464050"/>
              <a:gd name="connsiteX23" fmla="*/ 748229 w 3534389"/>
              <a:gd name="connsiteY23" fmla="*/ 4464050 h 4464050"/>
              <a:gd name="connsiteX24" fmla="*/ 746924 w 3534389"/>
              <a:gd name="connsiteY24" fmla="*/ 4464050 h 4464050"/>
              <a:gd name="connsiteX25" fmla="*/ 746924 w 3534389"/>
              <a:gd name="connsiteY25" fmla="*/ 0 h 4464050"/>
              <a:gd name="connsiteX26" fmla="*/ 0 w 3534389"/>
              <a:gd name="connsiteY26" fmla="*/ 4464050 h 4464050"/>
              <a:gd name="connsiteX27" fmla="*/ 629887 w 3534389"/>
              <a:gd name="connsiteY27" fmla="*/ 3893320 h 4464050"/>
              <a:gd name="connsiteX28" fmla="*/ 0 w 3534389"/>
              <a:gd name="connsiteY28" fmla="*/ 446405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0 h 4464050"/>
              <a:gd name="connsiteX20" fmla="*/ 1396 w 2787465"/>
              <a:gd name="connsiteY20" fmla="*/ 0 h 4464050"/>
              <a:gd name="connsiteX21" fmla="*/ 502806 w 2787465"/>
              <a:gd name="connsiteY21" fmla="*/ 570628 h 4464050"/>
              <a:gd name="connsiteX22" fmla="*/ 502806 w 2787465"/>
              <a:gd name="connsiteY22" fmla="*/ 3893320 h 4464050"/>
              <a:gd name="connsiteX23" fmla="*/ 1305 w 2787465"/>
              <a:gd name="connsiteY23" fmla="*/ 4464050 h 4464050"/>
              <a:gd name="connsiteX24" fmla="*/ 0 w 2787465"/>
              <a:gd name="connsiteY24" fmla="*/ 4464050 h 4464050"/>
              <a:gd name="connsiteX25" fmla="*/ 0 w 2787465"/>
              <a:gd name="connsiteY25" fmla="*/ 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0 h 4464050"/>
              <a:gd name="connsiteX20" fmla="*/ 1396 w 2787465"/>
              <a:gd name="connsiteY20" fmla="*/ 0 h 4464050"/>
              <a:gd name="connsiteX21" fmla="*/ 502806 w 2787465"/>
              <a:gd name="connsiteY21" fmla="*/ 3893320 h 4464050"/>
              <a:gd name="connsiteX22" fmla="*/ 1305 w 2787465"/>
              <a:gd name="connsiteY22" fmla="*/ 4464050 h 4464050"/>
              <a:gd name="connsiteX23" fmla="*/ 0 w 2787465"/>
              <a:gd name="connsiteY23" fmla="*/ 4464050 h 4464050"/>
              <a:gd name="connsiteX24" fmla="*/ 0 w 2787465"/>
              <a:gd name="connsiteY24" fmla="*/ 0 h 4464050"/>
              <a:gd name="connsiteX0" fmla="*/ 2809119 w 2809119"/>
              <a:gd name="connsiteY0" fmla="*/ 3569 h 4464050"/>
              <a:gd name="connsiteX1" fmla="*/ 2809119 w 2809119"/>
              <a:gd name="connsiteY1" fmla="*/ 4460478 h 4464050"/>
              <a:gd name="connsiteX2" fmla="*/ 2009507 w 2809119"/>
              <a:gd name="connsiteY2" fmla="*/ 3893419 h 4464050"/>
              <a:gd name="connsiteX3" fmla="*/ 2009507 w 2809119"/>
              <a:gd name="connsiteY3" fmla="*/ 570628 h 4464050"/>
              <a:gd name="connsiteX4" fmla="*/ 2809119 w 2809119"/>
              <a:gd name="connsiteY4" fmla="*/ 3569 h 4464050"/>
              <a:gd name="connsiteX5" fmla="*/ 1890916 w 2809119"/>
              <a:gd name="connsiteY5" fmla="*/ 0 h 4464050"/>
              <a:gd name="connsiteX6" fmla="*/ 1892668 w 2809119"/>
              <a:gd name="connsiteY6" fmla="*/ 0 h 4464050"/>
              <a:gd name="connsiteX7" fmla="*/ 1892668 w 2809119"/>
              <a:gd name="connsiteY7" fmla="*/ 4464050 h 4464050"/>
              <a:gd name="connsiteX8" fmla="*/ 1890919 w 2809119"/>
              <a:gd name="connsiteY8" fmla="*/ 4464050 h 4464050"/>
              <a:gd name="connsiteX9" fmla="*/ 1261141 w 2809119"/>
              <a:gd name="connsiteY9" fmla="*/ 3893419 h 4464050"/>
              <a:gd name="connsiteX10" fmla="*/ 1261141 w 2809119"/>
              <a:gd name="connsiteY10" fmla="*/ 570628 h 4464050"/>
              <a:gd name="connsiteX11" fmla="*/ 1890916 w 2809119"/>
              <a:gd name="connsiteY11" fmla="*/ 0 h 4464050"/>
              <a:gd name="connsiteX12" fmla="*/ 1142709 w 2809119"/>
              <a:gd name="connsiteY12" fmla="*/ 0 h 4464050"/>
              <a:gd name="connsiteX13" fmla="*/ 1144104 w 2809119"/>
              <a:gd name="connsiteY13" fmla="*/ 0 h 4464050"/>
              <a:gd name="connsiteX14" fmla="*/ 1144104 w 2809119"/>
              <a:gd name="connsiteY14" fmla="*/ 4464050 h 4464050"/>
              <a:gd name="connsiteX15" fmla="*/ 1142712 w 2809119"/>
              <a:gd name="connsiteY15" fmla="*/ 4464050 h 4464050"/>
              <a:gd name="connsiteX16" fmla="*/ 641299 w 2809119"/>
              <a:gd name="connsiteY16" fmla="*/ 3893419 h 4464050"/>
              <a:gd name="connsiteX17" fmla="*/ 641299 w 2809119"/>
              <a:gd name="connsiteY17" fmla="*/ 570628 h 4464050"/>
              <a:gd name="connsiteX18" fmla="*/ 1142709 w 2809119"/>
              <a:gd name="connsiteY18" fmla="*/ 0 h 4464050"/>
              <a:gd name="connsiteX19" fmla="*/ 0 w 2809119"/>
              <a:gd name="connsiteY19" fmla="*/ 7219 h 4464050"/>
              <a:gd name="connsiteX20" fmla="*/ 23050 w 2809119"/>
              <a:gd name="connsiteY20" fmla="*/ 0 h 4464050"/>
              <a:gd name="connsiteX21" fmla="*/ 524460 w 2809119"/>
              <a:gd name="connsiteY21" fmla="*/ 3893320 h 4464050"/>
              <a:gd name="connsiteX22" fmla="*/ 22959 w 2809119"/>
              <a:gd name="connsiteY22" fmla="*/ 4464050 h 4464050"/>
              <a:gd name="connsiteX23" fmla="*/ 21654 w 2809119"/>
              <a:gd name="connsiteY23" fmla="*/ 4464050 h 4464050"/>
              <a:gd name="connsiteX24" fmla="*/ 0 w 2809119"/>
              <a:gd name="connsiteY24" fmla="*/ 7219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4464050 h 4464050"/>
              <a:gd name="connsiteX20" fmla="*/ 1396 w 2787465"/>
              <a:gd name="connsiteY20" fmla="*/ 0 h 4464050"/>
              <a:gd name="connsiteX21" fmla="*/ 502806 w 2787465"/>
              <a:gd name="connsiteY21" fmla="*/ 3893320 h 4464050"/>
              <a:gd name="connsiteX22" fmla="*/ 1305 w 2787465"/>
              <a:gd name="connsiteY22" fmla="*/ 4464050 h 4464050"/>
              <a:gd name="connsiteX23" fmla="*/ 0 w 2787465"/>
              <a:gd name="connsiteY23" fmla="*/ 446405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4464050 h 4464050"/>
              <a:gd name="connsiteX20" fmla="*/ 1396 w 2787465"/>
              <a:gd name="connsiteY20" fmla="*/ 0 h 4464050"/>
              <a:gd name="connsiteX21" fmla="*/ 1305 w 2787465"/>
              <a:gd name="connsiteY21" fmla="*/ 4464050 h 4464050"/>
              <a:gd name="connsiteX22" fmla="*/ 0 w 2787465"/>
              <a:gd name="connsiteY22" fmla="*/ 446405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4464050 h 4464050"/>
              <a:gd name="connsiteX20" fmla="*/ 1305 w 2787465"/>
              <a:gd name="connsiteY20" fmla="*/ 4464050 h 4464050"/>
              <a:gd name="connsiteX21" fmla="*/ 0 w 2787465"/>
              <a:gd name="connsiteY21" fmla="*/ 4464050 h 4464050"/>
              <a:gd name="connsiteX0" fmla="*/ 2167820 w 2167820"/>
              <a:gd name="connsiteY0" fmla="*/ 3569 h 4464050"/>
              <a:gd name="connsiteX1" fmla="*/ 2167820 w 2167820"/>
              <a:gd name="connsiteY1" fmla="*/ 4460478 h 4464050"/>
              <a:gd name="connsiteX2" fmla="*/ 1368208 w 2167820"/>
              <a:gd name="connsiteY2" fmla="*/ 3893419 h 4464050"/>
              <a:gd name="connsiteX3" fmla="*/ 1368208 w 2167820"/>
              <a:gd name="connsiteY3" fmla="*/ 570628 h 4464050"/>
              <a:gd name="connsiteX4" fmla="*/ 2167820 w 2167820"/>
              <a:gd name="connsiteY4" fmla="*/ 3569 h 4464050"/>
              <a:gd name="connsiteX5" fmla="*/ 1249617 w 2167820"/>
              <a:gd name="connsiteY5" fmla="*/ 0 h 4464050"/>
              <a:gd name="connsiteX6" fmla="*/ 1251369 w 2167820"/>
              <a:gd name="connsiteY6" fmla="*/ 0 h 4464050"/>
              <a:gd name="connsiteX7" fmla="*/ 1251369 w 2167820"/>
              <a:gd name="connsiteY7" fmla="*/ 4464050 h 4464050"/>
              <a:gd name="connsiteX8" fmla="*/ 1249620 w 2167820"/>
              <a:gd name="connsiteY8" fmla="*/ 4464050 h 4464050"/>
              <a:gd name="connsiteX9" fmla="*/ 619842 w 2167820"/>
              <a:gd name="connsiteY9" fmla="*/ 3893419 h 4464050"/>
              <a:gd name="connsiteX10" fmla="*/ 619842 w 2167820"/>
              <a:gd name="connsiteY10" fmla="*/ 570628 h 4464050"/>
              <a:gd name="connsiteX11" fmla="*/ 1249617 w 2167820"/>
              <a:gd name="connsiteY11" fmla="*/ 0 h 4464050"/>
              <a:gd name="connsiteX12" fmla="*/ 501410 w 2167820"/>
              <a:gd name="connsiteY12" fmla="*/ 0 h 4464050"/>
              <a:gd name="connsiteX13" fmla="*/ 502805 w 2167820"/>
              <a:gd name="connsiteY13" fmla="*/ 0 h 4464050"/>
              <a:gd name="connsiteX14" fmla="*/ 502805 w 2167820"/>
              <a:gd name="connsiteY14" fmla="*/ 4464050 h 4464050"/>
              <a:gd name="connsiteX15" fmla="*/ 501413 w 2167820"/>
              <a:gd name="connsiteY15" fmla="*/ 4464050 h 4464050"/>
              <a:gd name="connsiteX16" fmla="*/ 0 w 2167820"/>
              <a:gd name="connsiteY16" fmla="*/ 3893419 h 4464050"/>
              <a:gd name="connsiteX17" fmla="*/ 0 w 2167820"/>
              <a:gd name="connsiteY17" fmla="*/ 570628 h 4464050"/>
              <a:gd name="connsiteX18" fmla="*/ 501410 w 2167820"/>
              <a:gd name="connsiteY18" fmla="*/ 0 h 446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167820" h="4464050">
                <a:moveTo>
                  <a:pt x="2167820" y="3569"/>
                </a:moveTo>
                <a:lnTo>
                  <a:pt x="2167820" y="4460478"/>
                </a:lnTo>
                <a:lnTo>
                  <a:pt x="1368208" y="3893419"/>
                </a:lnTo>
                <a:lnTo>
                  <a:pt x="1368208" y="570628"/>
                </a:lnTo>
                <a:lnTo>
                  <a:pt x="2167820" y="3569"/>
                </a:lnTo>
                <a:close/>
                <a:moveTo>
                  <a:pt x="1249617" y="0"/>
                </a:moveTo>
                <a:lnTo>
                  <a:pt x="1251369" y="0"/>
                </a:lnTo>
                <a:lnTo>
                  <a:pt x="1251369" y="4464050"/>
                </a:lnTo>
                <a:lnTo>
                  <a:pt x="1249620" y="4464050"/>
                </a:lnTo>
                <a:lnTo>
                  <a:pt x="619842" y="3893419"/>
                </a:lnTo>
                <a:lnTo>
                  <a:pt x="619842" y="570628"/>
                </a:lnTo>
                <a:lnTo>
                  <a:pt x="1249617" y="0"/>
                </a:lnTo>
                <a:close/>
                <a:moveTo>
                  <a:pt x="501410" y="0"/>
                </a:moveTo>
                <a:lnTo>
                  <a:pt x="502805" y="0"/>
                </a:lnTo>
                <a:lnTo>
                  <a:pt x="502805" y="4464050"/>
                </a:lnTo>
                <a:lnTo>
                  <a:pt x="501413" y="4464050"/>
                </a:lnTo>
                <a:lnTo>
                  <a:pt x="0" y="3893419"/>
                </a:lnTo>
                <a:lnTo>
                  <a:pt x="0" y="570628"/>
                </a:lnTo>
                <a:lnTo>
                  <a:pt x="501410" y="0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insert picture</a:t>
            </a:r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CE77EB60-ACA1-6112-BDA5-237DF487574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81765" y="428625"/>
            <a:ext cx="1912188" cy="3924299"/>
          </a:xfrm>
          <a:custGeom>
            <a:avLst/>
            <a:gdLst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3541647 w 4459850"/>
              <a:gd name="connsiteY4" fmla="*/ 0 h 4464050"/>
              <a:gd name="connsiteX5" fmla="*/ 3543399 w 4459850"/>
              <a:gd name="connsiteY5" fmla="*/ 0 h 4464050"/>
              <a:gd name="connsiteX6" fmla="*/ 3543399 w 4459850"/>
              <a:gd name="connsiteY6" fmla="*/ 4464050 h 4464050"/>
              <a:gd name="connsiteX7" fmla="*/ 3541650 w 4459850"/>
              <a:gd name="connsiteY7" fmla="*/ 4464050 h 4464050"/>
              <a:gd name="connsiteX8" fmla="*/ 2911872 w 4459850"/>
              <a:gd name="connsiteY8" fmla="*/ 3893419 h 4464050"/>
              <a:gd name="connsiteX9" fmla="*/ 2911872 w 4459850"/>
              <a:gd name="connsiteY9" fmla="*/ 570628 h 4464050"/>
              <a:gd name="connsiteX10" fmla="*/ 2793440 w 4459850"/>
              <a:gd name="connsiteY10" fmla="*/ 0 h 4464050"/>
              <a:gd name="connsiteX11" fmla="*/ 2794835 w 4459850"/>
              <a:gd name="connsiteY11" fmla="*/ 0 h 4464050"/>
              <a:gd name="connsiteX12" fmla="*/ 2794835 w 4459850"/>
              <a:gd name="connsiteY12" fmla="*/ 4464050 h 4464050"/>
              <a:gd name="connsiteX13" fmla="*/ 2793443 w 4459850"/>
              <a:gd name="connsiteY13" fmla="*/ 4464050 h 4464050"/>
              <a:gd name="connsiteX14" fmla="*/ 2292030 w 4459850"/>
              <a:gd name="connsiteY14" fmla="*/ 3893419 h 4464050"/>
              <a:gd name="connsiteX15" fmla="*/ 2292030 w 4459850"/>
              <a:gd name="connsiteY15" fmla="*/ 570628 h 4464050"/>
              <a:gd name="connsiteX16" fmla="*/ 1672385 w 4459850"/>
              <a:gd name="connsiteY16" fmla="*/ 0 h 4464050"/>
              <a:gd name="connsiteX17" fmla="*/ 1673781 w 4459850"/>
              <a:gd name="connsiteY17" fmla="*/ 0 h 4464050"/>
              <a:gd name="connsiteX18" fmla="*/ 2175191 w 4459850"/>
              <a:gd name="connsiteY18" fmla="*/ 570628 h 4464050"/>
              <a:gd name="connsiteX19" fmla="*/ 2175191 w 4459850"/>
              <a:gd name="connsiteY19" fmla="*/ 3893320 h 4464050"/>
              <a:gd name="connsiteX20" fmla="*/ 1673690 w 4459850"/>
              <a:gd name="connsiteY20" fmla="*/ 4464050 h 4464050"/>
              <a:gd name="connsiteX21" fmla="*/ 1672385 w 4459850"/>
              <a:gd name="connsiteY21" fmla="*/ 4464050 h 4464050"/>
              <a:gd name="connsiteX22" fmla="*/ 923822 w 4459850"/>
              <a:gd name="connsiteY22" fmla="*/ 0 h 4464050"/>
              <a:gd name="connsiteX23" fmla="*/ 925575 w 4459850"/>
              <a:gd name="connsiteY23" fmla="*/ 0 h 4464050"/>
              <a:gd name="connsiteX24" fmla="*/ 1555348 w 4459850"/>
              <a:gd name="connsiteY24" fmla="*/ 570628 h 4464050"/>
              <a:gd name="connsiteX25" fmla="*/ 1555348 w 4459850"/>
              <a:gd name="connsiteY25" fmla="*/ 3893320 h 4464050"/>
              <a:gd name="connsiteX26" fmla="*/ 925461 w 4459850"/>
              <a:gd name="connsiteY26" fmla="*/ 4464050 h 4464050"/>
              <a:gd name="connsiteX27" fmla="*/ 923822 w 4459850"/>
              <a:gd name="connsiteY27" fmla="*/ 4464050 h 4464050"/>
              <a:gd name="connsiteX28" fmla="*/ 0 w 4459850"/>
              <a:gd name="connsiteY28" fmla="*/ 0 h 4464050"/>
              <a:gd name="connsiteX29" fmla="*/ 2239 w 4459850"/>
              <a:gd name="connsiteY29" fmla="*/ 0 h 4464050"/>
              <a:gd name="connsiteX30" fmla="*/ 806883 w 4459850"/>
              <a:gd name="connsiteY30" fmla="*/ 570628 h 4464050"/>
              <a:gd name="connsiteX31" fmla="*/ 806883 w 4459850"/>
              <a:gd name="connsiteY31" fmla="*/ 3893419 h 4464050"/>
              <a:gd name="connsiteX32" fmla="*/ 2234 w 4459850"/>
              <a:gd name="connsiteY32" fmla="*/ 4464050 h 4464050"/>
              <a:gd name="connsiteX33" fmla="*/ 0 w 4459850"/>
              <a:gd name="connsiteY33" fmla="*/ 446405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292030 w 4459850"/>
              <a:gd name="connsiteY12" fmla="*/ 570628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2292030 w 4459850"/>
              <a:gd name="connsiteY17" fmla="*/ 570628 h 4464050"/>
              <a:gd name="connsiteX18" fmla="*/ 1672385 w 4459850"/>
              <a:gd name="connsiteY18" fmla="*/ 0 h 4464050"/>
              <a:gd name="connsiteX19" fmla="*/ 1673781 w 4459850"/>
              <a:gd name="connsiteY19" fmla="*/ 0 h 4464050"/>
              <a:gd name="connsiteX20" fmla="*/ 2175191 w 4459850"/>
              <a:gd name="connsiteY20" fmla="*/ 570628 h 4464050"/>
              <a:gd name="connsiteX21" fmla="*/ 2175191 w 4459850"/>
              <a:gd name="connsiteY21" fmla="*/ 3893320 h 4464050"/>
              <a:gd name="connsiteX22" fmla="*/ 1673690 w 4459850"/>
              <a:gd name="connsiteY22" fmla="*/ 4464050 h 4464050"/>
              <a:gd name="connsiteX23" fmla="*/ 1672385 w 4459850"/>
              <a:gd name="connsiteY23" fmla="*/ 4464050 h 4464050"/>
              <a:gd name="connsiteX24" fmla="*/ 1672385 w 4459850"/>
              <a:gd name="connsiteY24" fmla="*/ 0 h 4464050"/>
              <a:gd name="connsiteX25" fmla="*/ 923822 w 4459850"/>
              <a:gd name="connsiteY25" fmla="*/ 0 h 4464050"/>
              <a:gd name="connsiteX26" fmla="*/ 925575 w 4459850"/>
              <a:gd name="connsiteY26" fmla="*/ 0 h 4464050"/>
              <a:gd name="connsiteX27" fmla="*/ 1555348 w 4459850"/>
              <a:gd name="connsiteY27" fmla="*/ 570628 h 4464050"/>
              <a:gd name="connsiteX28" fmla="*/ 1555348 w 4459850"/>
              <a:gd name="connsiteY28" fmla="*/ 3893320 h 4464050"/>
              <a:gd name="connsiteX29" fmla="*/ 925461 w 4459850"/>
              <a:gd name="connsiteY29" fmla="*/ 4464050 h 4464050"/>
              <a:gd name="connsiteX30" fmla="*/ 923822 w 4459850"/>
              <a:gd name="connsiteY30" fmla="*/ 4464050 h 4464050"/>
              <a:gd name="connsiteX31" fmla="*/ 923822 w 4459850"/>
              <a:gd name="connsiteY31" fmla="*/ 0 h 4464050"/>
              <a:gd name="connsiteX32" fmla="*/ 0 w 4459850"/>
              <a:gd name="connsiteY32" fmla="*/ 0 h 4464050"/>
              <a:gd name="connsiteX33" fmla="*/ 2239 w 4459850"/>
              <a:gd name="connsiteY33" fmla="*/ 0 h 4464050"/>
              <a:gd name="connsiteX34" fmla="*/ 806883 w 4459850"/>
              <a:gd name="connsiteY34" fmla="*/ 570628 h 4464050"/>
              <a:gd name="connsiteX35" fmla="*/ 806883 w 4459850"/>
              <a:gd name="connsiteY35" fmla="*/ 3893419 h 4464050"/>
              <a:gd name="connsiteX36" fmla="*/ 2234 w 4459850"/>
              <a:gd name="connsiteY36" fmla="*/ 4464050 h 4464050"/>
              <a:gd name="connsiteX37" fmla="*/ 0 w 4459850"/>
              <a:gd name="connsiteY37" fmla="*/ 4464050 h 4464050"/>
              <a:gd name="connsiteX38" fmla="*/ 0 w 4459850"/>
              <a:gd name="connsiteY38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292030 w 4459850"/>
              <a:gd name="connsiteY12" fmla="*/ 3893419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1672385 w 4459850"/>
              <a:gd name="connsiteY17" fmla="*/ 0 h 4464050"/>
              <a:gd name="connsiteX18" fmla="*/ 1673781 w 4459850"/>
              <a:gd name="connsiteY18" fmla="*/ 0 h 4464050"/>
              <a:gd name="connsiteX19" fmla="*/ 2175191 w 4459850"/>
              <a:gd name="connsiteY19" fmla="*/ 570628 h 4464050"/>
              <a:gd name="connsiteX20" fmla="*/ 2175191 w 4459850"/>
              <a:gd name="connsiteY20" fmla="*/ 3893320 h 4464050"/>
              <a:gd name="connsiteX21" fmla="*/ 1673690 w 4459850"/>
              <a:gd name="connsiteY21" fmla="*/ 4464050 h 4464050"/>
              <a:gd name="connsiteX22" fmla="*/ 1672385 w 4459850"/>
              <a:gd name="connsiteY22" fmla="*/ 4464050 h 4464050"/>
              <a:gd name="connsiteX23" fmla="*/ 1672385 w 4459850"/>
              <a:gd name="connsiteY23" fmla="*/ 0 h 4464050"/>
              <a:gd name="connsiteX24" fmla="*/ 923822 w 4459850"/>
              <a:gd name="connsiteY24" fmla="*/ 0 h 4464050"/>
              <a:gd name="connsiteX25" fmla="*/ 925575 w 4459850"/>
              <a:gd name="connsiteY25" fmla="*/ 0 h 4464050"/>
              <a:gd name="connsiteX26" fmla="*/ 1555348 w 4459850"/>
              <a:gd name="connsiteY26" fmla="*/ 570628 h 4464050"/>
              <a:gd name="connsiteX27" fmla="*/ 1555348 w 4459850"/>
              <a:gd name="connsiteY27" fmla="*/ 3893320 h 4464050"/>
              <a:gd name="connsiteX28" fmla="*/ 925461 w 4459850"/>
              <a:gd name="connsiteY28" fmla="*/ 4464050 h 4464050"/>
              <a:gd name="connsiteX29" fmla="*/ 923822 w 4459850"/>
              <a:gd name="connsiteY29" fmla="*/ 4464050 h 4464050"/>
              <a:gd name="connsiteX30" fmla="*/ 923822 w 4459850"/>
              <a:gd name="connsiteY30" fmla="*/ 0 h 4464050"/>
              <a:gd name="connsiteX31" fmla="*/ 0 w 4459850"/>
              <a:gd name="connsiteY31" fmla="*/ 0 h 4464050"/>
              <a:gd name="connsiteX32" fmla="*/ 2239 w 4459850"/>
              <a:gd name="connsiteY32" fmla="*/ 0 h 4464050"/>
              <a:gd name="connsiteX33" fmla="*/ 806883 w 4459850"/>
              <a:gd name="connsiteY33" fmla="*/ 570628 h 4464050"/>
              <a:gd name="connsiteX34" fmla="*/ 806883 w 4459850"/>
              <a:gd name="connsiteY34" fmla="*/ 3893419 h 4464050"/>
              <a:gd name="connsiteX35" fmla="*/ 2234 w 4459850"/>
              <a:gd name="connsiteY35" fmla="*/ 4464050 h 4464050"/>
              <a:gd name="connsiteX36" fmla="*/ 0 w 4459850"/>
              <a:gd name="connsiteY36" fmla="*/ 4464050 h 4464050"/>
              <a:gd name="connsiteX37" fmla="*/ 0 w 4459850"/>
              <a:gd name="connsiteY37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292030 w 4459850"/>
              <a:gd name="connsiteY12" fmla="*/ 3893419 h 4464050"/>
              <a:gd name="connsiteX13" fmla="*/ 2794835 w 4459850"/>
              <a:gd name="connsiteY13" fmla="*/ 4464050 h 4464050"/>
              <a:gd name="connsiteX14" fmla="*/ 2793443 w 4459850"/>
              <a:gd name="connsiteY14" fmla="*/ 4464050 h 4464050"/>
              <a:gd name="connsiteX15" fmla="*/ 2292030 w 4459850"/>
              <a:gd name="connsiteY15" fmla="*/ 3893419 h 4464050"/>
              <a:gd name="connsiteX16" fmla="*/ 1672385 w 4459850"/>
              <a:gd name="connsiteY16" fmla="*/ 0 h 4464050"/>
              <a:gd name="connsiteX17" fmla="*/ 1673781 w 4459850"/>
              <a:gd name="connsiteY17" fmla="*/ 0 h 4464050"/>
              <a:gd name="connsiteX18" fmla="*/ 2175191 w 4459850"/>
              <a:gd name="connsiteY18" fmla="*/ 570628 h 4464050"/>
              <a:gd name="connsiteX19" fmla="*/ 2175191 w 4459850"/>
              <a:gd name="connsiteY19" fmla="*/ 3893320 h 4464050"/>
              <a:gd name="connsiteX20" fmla="*/ 1673690 w 4459850"/>
              <a:gd name="connsiteY20" fmla="*/ 4464050 h 4464050"/>
              <a:gd name="connsiteX21" fmla="*/ 1672385 w 4459850"/>
              <a:gd name="connsiteY21" fmla="*/ 4464050 h 4464050"/>
              <a:gd name="connsiteX22" fmla="*/ 1672385 w 4459850"/>
              <a:gd name="connsiteY22" fmla="*/ 0 h 4464050"/>
              <a:gd name="connsiteX23" fmla="*/ 923822 w 4459850"/>
              <a:gd name="connsiteY23" fmla="*/ 0 h 4464050"/>
              <a:gd name="connsiteX24" fmla="*/ 925575 w 4459850"/>
              <a:gd name="connsiteY24" fmla="*/ 0 h 4464050"/>
              <a:gd name="connsiteX25" fmla="*/ 1555348 w 4459850"/>
              <a:gd name="connsiteY25" fmla="*/ 570628 h 4464050"/>
              <a:gd name="connsiteX26" fmla="*/ 1555348 w 4459850"/>
              <a:gd name="connsiteY26" fmla="*/ 3893320 h 4464050"/>
              <a:gd name="connsiteX27" fmla="*/ 925461 w 4459850"/>
              <a:gd name="connsiteY27" fmla="*/ 4464050 h 4464050"/>
              <a:gd name="connsiteX28" fmla="*/ 923822 w 4459850"/>
              <a:gd name="connsiteY28" fmla="*/ 4464050 h 4464050"/>
              <a:gd name="connsiteX29" fmla="*/ 923822 w 4459850"/>
              <a:gd name="connsiteY29" fmla="*/ 0 h 4464050"/>
              <a:gd name="connsiteX30" fmla="*/ 0 w 4459850"/>
              <a:gd name="connsiteY30" fmla="*/ 0 h 4464050"/>
              <a:gd name="connsiteX31" fmla="*/ 2239 w 4459850"/>
              <a:gd name="connsiteY31" fmla="*/ 0 h 4464050"/>
              <a:gd name="connsiteX32" fmla="*/ 806883 w 4459850"/>
              <a:gd name="connsiteY32" fmla="*/ 570628 h 4464050"/>
              <a:gd name="connsiteX33" fmla="*/ 806883 w 4459850"/>
              <a:gd name="connsiteY33" fmla="*/ 3893419 h 4464050"/>
              <a:gd name="connsiteX34" fmla="*/ 2234 w 4459850"/>
              <a:gd name="connsiteY34" fmla="*/ 4464050 h 4464050"/>
              <a:gd name="connsiteX35" fmla="*/ 0 w 4459850"/>
              <a:gd name="connsiteY35" fmla="*/ 4464050 h 4464050"/>
              <a:gd name="connsiteX36" fmla="*/ 0 w 4459850"/>
              <a:gd name="connsiteY36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793443 w 4459850"/>
              <a:gd name="connsiteY12" fmla="*/ 4464050 h 4464050"/>
              <a:gd name="connsiteX13" fmla="*/ 2794835 w 4459850"/>
              <a:gd name="connsiteY13" fmla="*/ 4464050 h 4464050"/>
              <a:gd name="connsiteX14" fmla="*/ 2793443 w 4459850"/>
              <a:gd name="connsiteY14" fmla="*/ 4464050 h 4464050"/>
              <a:gd name="connsiteX15" fmla="*/ 1672385 w 4459850"/>
              <a:gd name="connsiteY15" fmla="*/ 0 h 4464050"/>
              <a:gd name="connsiteX16" fmla="*/ 1673781 w 4459850"/>
              <a:gd name="connsiteY16" fmla="*/ 0 h 4464050"/>
              <a:gd name="connsiteX17" fmla="*/ 2175191 w 4459850"/>
              <a:gd name="connsiteY17" fmla="*/ 570628 h 4464050"/>
              <a:gd name="connsiteX18" fmla="*/ 2175191 w 4459850"/>
              <a:gd name="connsiteY18" fmla="*/ 3893320 h 4464050"/>
              <a:gd name="connsiteX19" fmla="*/ 1673690 w 4459850"/>
              <a:gd name="connsiteY19" fmla="*/ 4464050 h 4464050"/>
              <a:gd name="connsiteX20" fmla="*/ 1672385 w 4459850"/>
              <a:gd name="connsiteY20" fmla="*/ 4464050 h 4464050"/>
              <a:gd name="connsiteX21" fmla="*/ 1672385 w 4459850"/>
              <a:gd name="connsiteY21" fmla="*/ 0 h 4464050"/>
              <a:gd name="connsiteX22" fmla="*/ 923822 w 4459850"/>
              <a:gd name="connsiteY22" fmla="*/ 0 h 4464050"/>
              <a:gd name="connsiteX23" fmla="*/ 925575 w 4459850"/>
              <a:gd name="connsiteY23" fmla="*/ 0 h 4464050"/>
              <a:gd name="connsiteX24" fmla="*/ 1555348 w 4459850"/>
              <a:gd name="connsiteY24" fmla="*/ 570628 h 4464050"/>
              <a:gd name="connsiteX25" fmla="*/ 1555348 w 4459850"/>
              <a:gd name="connsiteY25" fmla="*/ 3893320 h 4464050"/>
              <a:gd name="connsiteX26" fmla="*/ 925461 w 4459850"/>
              <a:gd name="connsiteY26" fmla="*/ 4464050 h 4464050"/>
              <a:gd name="connsiteX27" fmla="*/ 923822 w 4459850"/>
              <a:gd name="connsiteY27" fmla="*/ 4464050 h 4464050"/>
              <a:gd name="connsiteX28" fmla="*/ 923822 w 4459850"/>
              <a:gd name="connsiteY28" fmla="*/ 0 h 4464050"/>
              <a:gd name="connsiteX29" fmla="*/ 0 w 4459850"/>
              <a:gd name="connsiteY29" fmla="*/ 0 h 4464050"/>
              <a:gd name="connsiteX30" fmla="*/ 2239 w 4459850"/>
              <a:gd name="connsiteY30" fmla="*/ 0 h 4464050"/>
              <a:gd name="connsiteX31" fmla="*/ 806883 w 4459850"/>
              <a:gd name="connsiteY31" fmla="*/ 570628 h 4464050"/>
              <a:gd name="connsiteX32" fmla="*/ 806883 w 4459850"/>
              <a:gd name="connsiteY32" fmla="*/ 3893419 h 4464050"/>
              <a:gd name="connsiteX33" fmla="*/ 2234 w 4459850"/>
              <a:gd name="connsiteY33" fmla="*/ 4464050 h 4464050"/>
              <a:gd name="connsiteX34" fmla="*/ 0 w 4459850"/>
              <a:gd name="connsiteY34" fmla="*/ 4464050 h 4464050"/>
              <a:gd name="connsiteX35" fmla="*/ 0 w 4459850"/>
              <a:gd name="connsiteY35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1672385 w 4459850"/>
              <a:gd name="connsiteY12" fmla="*/ 0 h 4464050"/>
              <a:gd name="connsiteX13" fmla="*/ 1673781 w 4459850"/>
              <a:gd name="connsiteY13" fmla="*/ 0 h 4464050"/>
              <a:gd name="connsiteX14" fmla="*/ 2175191 w 4459850"/>
              <a:gd name="connsiteY14" fmla="*/ 570628 h 4464050"/>
              <a:gd name="connsiteX15" fmla="*/ 2175191 w 4459850"/>
              <a:gd name="connsiteY15" fmla="*/ 3893320 h 4464050"/>
              <a:gd name="connsiteX16" fmla="*/ 1673690 w 4459850"/>
              <a:gd name="connsiteY16" fmla="*/ 4464050 h 4464050"/>
              <a:gd name="connsiteX17" fmla="*/ 1672385 w 4459850"/>
              <a:gd name="connsiteY17" fmla="*/ 4464050 h 4464050"/>
              <a:gd name="connsiteX18" fmla="*/ 1672385 w 4459850"/>
              <a:gd name="connsiteY18" fmla="*/ 0 h 4464050"/>
              <a:gd name="connsiteX19" fmla="*/ 923822 w 4459850"/>
              <a:gd name="connsiteY19" fmla="*/ 0 h 4464050"/>
              <a:gd name="connsiteX20" fmla="*/ 925575 w 4459850"/>
              <a:gd name="connsiteY20" fmla="*/ 0 h 4464050"/>
              <a:gd name="connsiteX21" fmla="*/ 1555348 w 4459850"/>
              <a:gd name="connsiteY21" fmla="*/ 570628 h 4464050"/>
              <a:gd name="connsiteX22" fmla="*/ 1555348 w 4459850"/>
              <a:gd name="connsiteY22" fmla="*/ 3893320 h 4464050"/>
              <a:gd name="connsiteX23" fmla="*/ 925461 w 4459850"/>
              <a:gd name="connsiteY23" fmla="*/ 4464050 h 4464050"/>
              <a:gd name="connsiteX24" fmla="*/ 923822 w 4459850"/>
              <a:gd name="connsiteY24" fmla="*/ 4464050 h 4464050"/>
              <a:gd name="connsiteX25" fmla="*/ 923822 w 4459850"/>
              <a:gd name="connsiteY25" fmla="*/ 0 h 4464050"/>
              <a:gd name="connsiteX26" fmla="*/ 0 w 4459850"/>
              <a:gd name="connsiteY26" fmla="*/ 0 h 4464050"/>
              <a:gd name="connsiteX27" fmla="*/ 2239 w 4459850"/>
              <a:gd name="connsiteY27" fmla="*/ 0 h 4464050"/>
              <a:gd name="connsiteX28" fmla="*/ 806883 w 4459850"/>
              <a:gd name="connsiteY28" fmla="*/ 570628 h 4464050"/>
              <a:gd name="connsiteX29" fmla="*/ 806883 w 4459850"/>
              <a:gd name="connsiteY29" fmla="*/ 3893419 h 4464050"/>
              <a:gd name="connsiteX30" fmla="*/ 2234 w 4459850"/>
              <a:gd name="connsiteY30" fmla="*/ 4464050 h 4464050"/>
              <a:gd name="connsiteX31" fmla="*/ 0 w 4459850"/>
              <a:gd name="connsiteY31" fmla="*/ 4464050 h 4464050"/>
              <a:gd name="connsiteX32" fmla="*/ 0 w 4459850"/>
              <a:gd name="connsiteY32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3893419 h 4464050"/>
              <a:gd name="connsiteX9" fmla="*/ 2911872 w 4459850"/>
              <a:gd name="connsiteY9" fmla="*/ 570628 h 4464050"/>
              <a:gd name="connsiteX10" fmla="*/ 3541647 w 4459850"/>
              <a:gd name="connsiteY10" fmla="*/ 0 h 4464050"/>
              <a:gd name="connsiteX11" fmla="*/ 1672385 w 4459850"/>
              <a:gd name="connsiteY11" fmla="*/ 0 h 4464050"/>
              <a:gd name="connsiteX12" fmla="*/ 1673781 w 4459850"/>
              <a:gd name="connsiteY12" fmla="*/ 0 h 4464050"/>
              <a:gd name="connsiteX13" fmla="*/ 2175191 w 4459850"/>
              <a:gd name="connsiteY13" fmla="*/ 570628 h 4464050"/>
              <a:gd name="connsiteX14" fmla="*/ 2175191 w 4459850"/>
              <a:gd name="connsiteY14" fmla="*/ 3893320 h 4464050"/>
              <a:gd name="connsiteX15" fmla="*/ 1673690 w 4459850"/>
              <a:gd name="connsiteY15" fmla="*/ 4464050 h 4464050"/>
              <a:gd name="connsiteX16" fmla="*/ 1672385 w 4459850"/>
              <a:gd name="connsiteY16" fmla="*/ 4464050 h 4464050"/>
              <a:gd name="connsiteX17" fmla="*/ 1672385 w 4459850"/>
              <a:gd name="connsiteY17" fmla="*/ 0 h 4464050"/>
              <a:gd name="connsiteX18" fmla="*/ 923822 w 4459850"/>
              <a:gd name="connsiteY18" fmla="*/ 0 h 4464050"/>
              <a:gd name="connsiteX19" fmla="*/ 925575 w 4459850"/>
              <a:gd name="connsiteY19" fmla="*/ 0 h 4464050"/>
              <a:gd name="connsiteX20" fmla="*/ 1555348 w 4459850"/>
              <a:gd name="connsiteY20" fmla="*/ 570628 h 4464050"/>
              <a:gd name="connsiteX21" fmla="*/ 1555348 w 4459850"/>
              <a:gd name="connsiteY21" fmla="*/ 3893320 h 4464050"/>
              <a:gd name="connsiteX22" fmla="*/ 925461 w 4459850"/>
              <a:gd name="connsiteY22" fmla="*/ 4464050 h 4464050"/>
              <a:gd name="connsiteX23" fmla="*/ 923822 w 4459850"/>
              <a:gd name="connsiteY23" fmla="*/ 4464050 h 4464050"/>
              <a:gd name="connsiteX24" fmla="*/ 923822 w 4459850"/>
              <a:gd name="connsiteY24" fmla="*/ 0 h 4464050"/>
              <a:gd name="connsiteX25" fmla="*/ 0 w 4459850"/>
              <a:gd name="connsiteY25" fmla="*/ 0 h 4464050"/>
              <a:gd name="connsiteX26" fmla="*/ 2239 w 4459850"/>
              <a:gd name="connsiteY26" fmla="*/ 0 h 4464050"/>
              <a:gd name="connsiteX27" fmla="*/ 806883 w 4459850"/>
              <a:gd name="connsiteY27" fmla="*/ 570628 h 4464050"/>
              <a:gd name="connsiteX28" fmla="*/ 806883 w 4459850"/>
              <a:gd name="connsiteY28" fmla="*/ 3893419 h 4464050"/>
              <a:gd name="connsiteX29" fmla="*/ 2234 w 4459850"/>
              <a:gd name="connsiteY29" fmla="*/ 4464050 h 4464050"/>
              <a:gd name="connsiteX30" fmla="*/ 0 w 4459850"/>
              <a:gd name="connsiteY30" fmla="*/ 4464050 h 4464050"/>
              <a:gd name="connsiteX31" fmla="*/ 0 w 4459850"/>
              <a:gd name="connsiteY31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570628 h 4464050"/>
              <a:gd name="connsiteX9" fmla="*/ 3541647 w 4459850"/>
              <a:gd name="connsiteY9" fmla="*/ 0 h 4464050"/>
              <a:gd name="connsiteX10" fmla="*/ 1672385 w 4459850"/>
              <a:gd name="connsiteY10" fmla="*/ 0 h 4464050"/>
              <a:gd name="connsiteX11" fmla="*/ 1673781 w 4459850"/>
              <a:gd name="connsiteY11" fmla="*/ 0 h 4464050"/>
              <a:gd name="connsiteX12" fmla="*/ 2175191 w 4459850"/>
              <a:gd name="connsiteY12" fmla="*/ 570628 h 4464050"/>
              <a:gd name="connsiteX13" fmla="*/ 2175191 w 4459850"/>
              <a:gd name="connsiteY13" fmla="*/ 3893320 h 4464050"/>
              <a:gd name="connsiteX14" fmla="*/ 1673690 w 4459850"/>
              <a:gd name="connsiteY14" fmla="*/ 4464050 h 4464050"/>
              <a:gd name="connsiteX15" fmla="*/ 1672385 w 4459850"/>
              <a:gd name="connsiteY15" fmla="*/ 4464050 h 4464050"/>
              <a:gd name="connsiteX16" fmla="*/ 1672385 w 4459850"/>
              <a:gd name="connsiteY16" fmla="*/ 0 h 4464050"/>
              <a:gd name="connsiteX17" fmla="*/ 923822 w 4459850"/>
              <a:gd name="connsiteY17" fmla="*/ 0 h 4464050"/>
              <a:gd name="connsiteX18" fmla="*/ 925575 w 4459850"/>
              <a:gd name="connsiteY18" fmla="*/ 0 h 4464050"/>
              <a:gd name="connsiteX19" fmla="*/ 1555348 w 4459850"/>
              <a:gd name="connsiteY19" fmla="*/ 570628 h 4464050"/>
              <a:gd name="connsiteX20" fmla="*/ 1555348 w 4459850"/>
              <a:gd name="connsiteY20" fmla="*/ 3893320 h 4464050"/>
              <a:gd name="connsiteX21" fmla="*/ 925461 w 4459850"/>
              <a:gd name="connsiteY21" fmla="*/ 4464050 h 4464050"/>
              <a:gd name="connsiteX22" fmla="*/ 923822 w 4459850"/>
              <a:gd name="connsiteY22" fmla="*/ 4464050 h 4464050"/>
              <a:gd name="connsiteX23" fmla="*/ 923822 w 4459850"/>
              <a:gd name="connsiteY23" fmla="*/ 0 h 4464050"/>
              <a:gd name="connsiteX24" fmla="*/ 0 w 4459850"/>
              <a:gd name="connsiteY24" fmla="*/ 0 h 4464050"/>
              <a:gd name="connsiteX25" fmla="*/ 2239 w 4459850"/>
              <a:gd name="connsiteY25" fmla="*/ 0 h 4464050"/>
              <a:gd name="connsiteX26" fmla="*/ 806883 w 4459850"/>
              <a:gd name="connsiteY26" fmla="*/ 570628 h 4464050"/>
              <a:gd name="connsiteX27" fmla="*/ 806883 w 4459850"/>
              <a:gd name="connsiteY27" fmla="*/ 3893419 h 4464050"/>
              <a:gd name="connsiteX28" fmla="*/ 2234 w 4459850"/>
              <a:gd name="connsiteY28" fmla="*/ 4464050 h 4464050"/>
              <a:gd name="connsiteX29" fmla="*/ 0 w 4459850"/>
              <a:gd name="connsiteY29" fmla="*/ 4464050 h 4464050"/>
              <a:gd name="connsiteX30" fmla="*/ 0 w 4459850"/>
              <a:gd name="connsiteY30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19994 w 4459850"/>
              <a:gd name="connsiteY5" fmla="*/ 28871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570628 h 4464050"/>
              <a:gd name="connsiteX9" fmla="*/ 3519994 w 4459850"/>
              <a:gd name="connsiteY9" fmla="*/ 28871 h 4464050"/>
              <a:gd name="connsiteX10" fmla="*/ 1672385 w 4459850"/>
              <a:gd name="connsiteY10" fmla="*/ 0 h 4464050"/>
              <a:gd name="connsiteX11" fmla="*/ 1673781 w 4459850"/>
              <a:gd name="connsiteY11" fmla="*/ 0 h 4464050"/>
              <a:gd name="connsiteX12" fmla="*/ 2175191 w 4459850"/>
              <a:gd name="connsiteY12" fmla="*/ 570628 h 4464050"/>
              <a:gd name="connsiteX13" fmla="*/ 2175191 w 4459850"/>
              <a:gd name="connsiteY13" fmla="*/ 3893320 h 4464050"/>
              <a:gd name="connsiteX14" fmla="*/ 1673690 w 4459850"/>
              <a:gd name="connsiteY14" fmla="*/ 4464050 h 4464050"/>
              <a:gd name="connsiteX15" fmla="*/ 1672385 w 4459850"/>
              <a:gd name="connsiteY15" fmla="*/ 4464050 h 4464050"/>
              <a:gd name="connsiteX16" fmla="*/ 1672385 w 4459850"/>
              <a:gd name="connsiteY16" fmla="*/ 0 h 4464050"/>
              <a:gd name="connsiteX17" fmla="*/ 923822 w 4459850"/>
              <a:gd name="connsiteY17" fmla="*/ 0 h 4464050"/>
              <a:gd name="connsiteX18" fmla="*/ 925575 w 4459850"/>
              <a:gd name="connsiteY18" fmla="*/ 0 h 4464050"/>
              <a:gd name="connsiteX19" fmla="*/ 1555348 w 4459850"/>
              <a:gd name="connsiteY19" fmla="*/ 570628 h 4464050"/>
              <a:gd name="connsiteX20" fmla="*/ 1555348 w 4459850"/>
              <a:gd name="connsiteY20" fmla="*/ 3893320 h 4464050"/>
              <a:gd name="connsiteX21" fmla="*/ 925461 w 4459850"/>
              <a:gd name="connsiteY21" fmla="*/ 4464050 h 4464050"/>
              <a:gd name="connsiteX22" fmla="*/ 923822 w 4459850"/>
              <a:gd name="connsiteY22" fmla="*/ 4464050 h 4464050"/>
              <a:gd name="connsiteX23" fmla="*/ 923822 w 4459850"/>
              <a:gd name="connsiteY23" fmla="*/ 0 h 4464050"/>
              <a:gd name="connsiteX24" fmla="*/ 0 w 4459850"/>
              <a:gd name="connsiteY24" fmla="*/ 0 h 4464050"/>
              <a:gd name="connsiteX25" fmla="*/ 2239 w 4459850"/>
              <a:gd name="connsiteY25" fmla="*/ 0 h 4464050"/>
              <a:gd name="connsiteX26" fmla="*/ 806883 w 4459850"/>
              <a:gd name="connsiteY26" fmla="*/ 570628 h 4464050"/>
              <a:gd name="connsiteX27" fmla="*/ 806883 w 4459850"/>
              <a:gd name="connsiteY27" fmla="*/ 3893419 h 4464050"/>
              <a:gd name="connsiteX28" fmla="*/ 2234 w 4459850"/>
              <a:gd name="connsiteY28" fmla="*/ 4464050 h 4464050"/>
              <a:gd name="connsiteX29" fmla="*/ 0 w 4459850"/>
              <a:gd name="connsiteY29" fmla="*/ 4464050 h 4464050"/>
              <a:gd name="connsiteX30" fmla="*/ 0 w 4459850"/>
              <a:gd name="connsiteY30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2911872 w 4459850"/>
              <a:gd name="connsiteY5" fmla="*/ 570628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570628 h 4464050"/>
              <a:gd name="connsiteX9" fmla="*/ 1672385 w 4459850"/>
              <a:gd name="connsiteY9" fmla="*/ 0 h 4464050"/>
              <a:gd name="connsiteX10" fmla="*/ 1673781 w 4459850"/>
              <a:gd name="connsiteY10" fmla="*/ 0 h 4464050"/>
              <a:gd name="connsiteX11" fmla="*/ 2175191 w 4459850"/>
              <a:gd name="connsiteY11" fmla="*/ 570628 h 4464050"/>
              <a:gd name="connsiteX12" fmla="*/ 2175191 w 4459850"/>
              <a:gd name="connsiteY12" fmla="*/ 3893320 h 4464050"/>
              <a:gd name="connsiteX13" fmla="*/ 1673690 w 4459850"/>
              <a:gd name="connsiteY13" fmla="*/ 4464050 h 4464050"/>
              <a:gd name="connsiteX14" fmla="*/ 1672385 w 4459850"/>
              <a:gd name="connsiteY14" fmla="*/ 4464050 h 4464050"/>
              <a:gd name="connsiteX15" fmla="*/ 1672385 w 4459850"/>
              <a:gd name="connsiteY15" fmla="*/ 0 h 4464050"/>
              <a:gd name="connsiteX16" fmla="*/ 923822 w 4459850"/>
              <a:gd name="connsiteY16" fmla="*/ 0 h 4464050"/>
              <a:gd name="connsiteX17" fmla="*/ 925575 w 4459850"/>
              <a:gd name="connsiteY17" fmla="*/ 0 h 4464050"/>
              <a:gd name="connsiteX18" fmla="*/ 1555348 w 4459850"/>
              <a:gd name="connsiteY18" fmla="*/ 570628 h 4464050"/>
              <a:gd name="connsiteX19" fmla="*/ 1555348 w 4459850"/>
              <a:gd name="connsiteY19" fmla="*/ 3893320 h 4464050"/>
              <a:gd name="connsiteX20" fmla="*/ 925461 w 4459850"/>
              <a:gd name="connsiteY20" fmla="*/ 4464050 h 4464050"/>
              <a:gd name="connsiteX21" fmla="*/ 923822 w 4459850"/>
              <a:gd name="connsiteY21" fmla="*/ 4464050 h 4464050"/>
              <a:gd name="connsiteX22" fmla="*/ 923822 w 4459850"/>
              <a:gd name="connsiteY22" fmla="*/ 0 h 4464050"/>
              <a:gd name="connsiteX23" fmla="*/ 0 w 4459850"/>
              <a:gd name="connsiteY23" fmla="*/ 0 h 4464050"/>
              <a:gd name="connsiteX24" fmla="*/ 2239 w 4459850"/>
              <a:gd name="connsiteY24" fmla="*/ 0 h 4464050"/>
              <a:gd name="connsiteX25" fmla="*/ 806883 w 4459850"/>
              <a:gd name="connsiteY25" fmla="*/ 570628 h 4464050"/>
              <a:gd name="connsiteX26" fmla="*/ 806883 w 4459850"/>
              <a:gd name="connsiteY26" fmla="*/ 3893419 h 4464050"/>
              <a:gd name="connsiteX27" fmla="*/ 2234 w 4459850"/>
              <a:gd name="connsiteY27" fmla="*/ 4464050 h 4464050"/>
              <a:gd name="connsiteX28" fmla="*/ 0 w 4459850"/>
              <a:gd name="connsiteY28" fmla="*/ 4464050 h 4464050"/>
              <a:gd name="connsiteX29" fmla="*/ 0 w 4459850"/>
              <a:gd name="connsiteY29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2911872 w 4459850"/>
              <a:gd name="connsiteY5" fmla="*/ 570628 h 4464050"/>
              <a:gd name="connsiteX6" fmla="*/ 3543399 w 4459850"/>
              <a:gd name="connsiteY6" fmla="*/ 4464050 h 4464050"/>
              <a:gd name="connsiteX7" fmla="*/ 2911872 w 4459850"/>
              <a:gd name="connsiteY7" fmla="*/ 570628 h 4464050"/>
              <a:gd name="connsiteX8" fmla="*/ 1672385 w 4459850"/>
              <a:gd name="connsiteY8" fmla="*/ 0 h 4464050"/>
              <a:gd name="connsiteX9" fmla="*/ 1673781 w 4459850"/>
              <a:gd name="connsiteY9" fmla="*/ 0 h 4464050"/>
              <a:gd name="connsiteX10" fmla="*/ 2175191 w 4459850"/>
              <a:gd name="connsiteY10" fmla="*/ 570628 h 4464050"/>
              <a:gd name="connsiteX11" fmla="*/ 2175191 w 4459850"/>
              <a:gd name="connsiteY11" fmla="*/ 3893320 h 4464050"/>
              <a:gd name="connsiteX12" fmla="*/ 1673690 w 4459850"/>
              <a:gd name="connsiteY12" fmla="*/ 4464050 h 4464050"/>
              <a:gd name="connsiteX13" fmla="*/ 1672385 w 4459850"/>
              <a:gd name="connsiteY13" fmla="*/ 4464050 h 4464050"/>
              <a:gd name="connsiteX14" fmla="*/ 1672385 w 4459850"/>
              <a:gd name="connsiteY14" fmla="*/ 0 h 4464050"/>
              <a:gd name="connsiteX15" fmla="*/ 923822 w 4459850"/>
              <a:gd name="connsiteY15" fmla="*/ 0 h 4464050"/>
              <a:gd name="connsiteX16" fmla="*/ 925575 w 4459850"/>
              <a:gd name="connsiteY16" fmla="*/ 0 h 4464050"/>
              <a:gd name="connsiteX17" fmla="*/ 1555348 w 4459850"/>
              <a:gd name="connsiteY17" fmla="*/ 570628 h 4464050"/>
              <a:gd name="connsiteX18" fmla="*/ 1555348 w 4459850"/>
              <a:gd name="connsiteY18" fmla="*/ 3893320 h 4464050"/>
              <a:gd name="connsiteX19" fmla="*/ 925461 w 4459850"/>
              <a:gd name="connsiteY19" fmla="*/ 4464050 h 4464050"/>
              <a:gd name="connsiteX20" fmla="*/ 923822 w 4459850"/>
              <a:gd name="connsiteY20" fmla="*/ 4464050 h 4464050"/>
              <a:gd name="connsiteX21" fmla="*/ 923822 w 4459850"/>
              <a:gd name="connsiteY21" fmla="*/ 0 h 4464050"/>
              <a:gd name="connsiteX22" fmla="*/ 0 w 4459850"/>
              <a:gd name="connsiteY22" fmla="*/ 0 h 4464050"/>
              <a:gd name="connsiteX23" fmla="*/ 2239 w 4459850"/>
              <a:gd name="connsiteY23" fmla="*/ 0 h 4464050"/>
              <a:gd name="connsiteX24" fmla="*/ 806883 w 4459850"/>
              <a:gd name="connsiteY24" fmla="*/ 570628 h 4464050"/>
              <a:gd name="connsiteX25" fmla="*/ 806883 w 4459850"/>
              <a:gd name="connsiteY25" fmla="*/ 3893419 h 4464050"/>
              <a:gd name="connsiteX26" fmla="*/ 2234 w 4459850"/>
              <a:gd name="connsiteY26" fmla="*/ 4464050 h 4464050"/>
              <a:gd name="connsiteX27" fmla="*/ 0 w 4459850"/>
              <a:gd name="connsiteY27" fmla="*/ 4464050 h 4464050"/>
              <a:gd name="connsiteX28" fmla="*/ 0 w 4459850"/>
              <a:gd name="connsiteY28" fmla="*/ 0 h 4464050"/>
              <a:gd name="connsiteX0" fmla="*/ 3660238 w 4459850"/>
              <a:gd name="connsiteY0" fmla="*/ 570628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2911872 w 4459850"/>
              <a:gd name="connsiteY4" fmla="*/ 570628 h 4464050"/>
              <a:gd name="connsiteX5" fmla="*/ 3543399 w 4459850"/>
              <a:gd name="connsiteY5" fmla="*/ 4464050 h 4464050"/>
              <a:gd name="connsiteX6" fmla="*/ 2911872 w 4459850"/>
              <a:gd name="connsiteY6" fmla="*/ 570628 h 4464050"/>
              <a:gd name="connsiteX7" fmla="*/ 1672385 w 4459850"/>
              <a:gd name="connsiteY7" fmla="*/ 0 h 4464050"/>
              <a:gd name="connsiteX8" fmla="*/ 1673781 w 4459850"/>
              <a:gd name="connsiteY8" fmla="*/ 0 h 4464050"/>
              <a:gd name="connsiteX9" fmla="*/ 2175191 w 4459850"/>
              <a:gd name="connsiteY9" fmla="*/ 570628 h 4464050"/>
              <a:gd name="connsiteX10" fmla="*/ 2175191 w 4459850"/>
              <a:gd name="connsiteY10" fmla="*/ 3893320 h 4464050"/>
              <a:gd name="connsiteX11" fmla="*/ 1673690 w 4459850"/>
              <a:gd name="connsiteY11" fmla="*/ 4464050 h 4464050"/>
              <a:gd name="connsiteX12" fmla="*/ 1672385 w 4459850"/>
              <a:gd name="connsiteY12" fmla="*/ 4464050 h 4464050"/>
              <a:gd name="connsiteX13" fmla="*/ 1672385 w 4459850"/>
              <a:gd name="connsiteY13" fmla="*/ 0 h 4464050"/>
              <a:gd name="connsiteX14" fmla="*/ 923822 w 4459850"/>
              <a:gd name="connsiteY14" fmla="*/ 0 h 4464050"/>
              <a:gd name="connsiteX15" fmla="*/ 925575 w 4459850"/>
              <a:gd name="connsiteY15" fmla="*/ 0 h 4464050"/>
              <a:gd name="connsiteX16" fmla="*/ 1555348 w 4459850"/>
              <a:gd name="connsiteY16" fmla="*/ 570628 h 4464050"/>
              <a:gd name="connsiteX17" fmla="*/ 1555348 w 4459850"/>
              <a:gd name="connsiteY17" fmla="*/ 3893320 h 4464050"/>
              <a:gd name="connsiteX18" fmla="*/ 925461 w 4459850"/>
              <a:gd name="connsiteY18" fmla="*/ 4464050 h 4464050"/>
              <a:gd name="connsiteX19" fmla="*/ 923822 w 4459850"/>
              <a:gd name="connsiteY19" fmla="*/ 4464050 h 4464050"/>
              <a:gd name="connsiteX20" fmla="*/ 923822 w 4459850"/>
              <a:gd name="connsiteY20" fmla="*/ 0 h 4464050"/>
              <a:gd name="connsiteX21" fmla="*/ 0 w 4459850"/>
              <a:gd name="connsiteY21" fmla="*/ 0 h 4464050"/>
              <a:gd name="connsiteX22" fmla="*/ 2239 w 4459850"/>
              <a:gd name="connsiteY22" fmla="*/ 0 h 4464050"/>
              <a:gd name="connsiteX23" fmla="*/ 806883 w 4459850"/>
              <a:gd name="connsiteY23" fmla="*/ 570628 h 4464050"/>
              <a:gd name="connsiteX24" fmla="*/ 806883 w 4459850"/>
              <a:gd name="connsiteY24" fmla="*/ 3893419 h 4464050"/>
              <a:gd name="connsiteX25" fmla="*/ 2234 w 4459850"/>
              <a:gd name="connsiteY25" fmla="*/ 4464050 h 4464050"/>
              <a:gd name="connsiteX26" fmla="*/ 0 w 4459850"/>
              <a:gd name="connsiteY26" fmla="*/ 4464050 h 4464050"/>
              <a:gd name="connsiteX27" fmla="*/ 0 w 4459850"/>
              <a:gd name="connsiteY27" fmla="*/ 0 h 4464050"/>
              <a:gd name="connsiteX0" fmla="*/ 3660238 w 4459850"/>
              <a:gd name="connsiteY0" fmla="*/ 570628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1672385 w 4459850"/>
              <a:gd name="connsiteY4" fmla="*/ 0 h 4464050"/>
              <a:gd name="connsiteX5" fmla="*/ 1673781 w 4459850"/>
              <a:gd name="connsiteY5" fmla="*/ 0 h 4464050"/>
              <a:gd name="connsiteX6" fmla="*/ 2175191 w 4459850"/>
              <a:gd name="connsiteY6" fmla="*/ 570628 h 4464050"/>
              <a:gd name="connsiteX7" fmla="*/ 2175191 w 4459850"/>
              <a:gd name="connsiteY7" fmla="*/ 3893320 h 4464050"/>
              <a:gd name="connsiteX8" fmla="*/ 1673690 w 4459850"/>
              <a:gd name="connsiteY8" fmla="*/ 4464050 h 4464050"/>
              <a:gd name="connsiteX9" fmla="*/ 1672385 w 4459850"/>
              <a:gd name="connsiteY9" fmla="*/ 4464050 h 4464050"/>
              <a:gd name="connsiteX10" fmla="*/ 1672385 w 4459850"/>
              <a:gd name="connsiteY10" fmla="*/ 0 h 4464050"/>
              <a:gd name="connsiteX11" fmla="*/ 923822 w 4459850"/>
              <a:gd name="connsiteY11" fmla="*/ 0 h 4464050"/>
              <a:gd name="connsiteX12" fmla="*/ 925575 w 4459850"/>
              <a:gd name="connsiteY12" fmla="*/ 0 h 4464050"/>
              <a:gd name="connsiteX13" fmla="*/ 1555348 w 4459850"/>
              <a:gd name="connsiteY13" fmla="*/ 570628 h 4464050"/>
              <a:gd name="connsiteX14" fmla="*/ 1555348 w 4459850"/>
              <a:gd name="connsiteY14" fmla="*/ 3893320 h 4464050"/>
              <a:gd name="connsiteX15" fmla="*/ 925461 w 4459850"/>
              <a:gd name="connsiteY15" fmla="*/ 4464050 h 4464050"/>
              <a:gd name="connsiteX16" fmla="*/ 923822 w 4459850"/>
              <a:gd name="connsiteY16" fmla="*/ 4464050 h 4464050"/>
              <a:gd name="connsiteX17" fmla="*/ 923822 w 4459850"/>
              <a:gd name="connsiteY17" fmla="*/ 0 h 4464050"/>
              <a:gd name="connsiteX18" fmla="*/ 0 w 4459850"/>
              <a:gd name="connsiteY18" fmla="*/ 0 h 4464050"/>
              <a:gd name="connsiteX19" fmla="*/ 2239 w 4459850"/>
              <a:gd name="connsiteY19" fmla="*/ 0 h 4464050"/>
              <a:gd name="connsiteX20" fmla="*/ 806883 w 4459850"/>
              <a:gd name="connsiteY20" fmla="*/ 570628 h 4464050"/>
              <a:gd name="connsiteX21" fmla="*/ 806883 w 4459850"/>
              <a:gd name="connsiteY21" fmla="*/ 3893419 h 4464050"/>
              <a:gd name="connsiteX22" fmla="*/ 2234 w 4459850"/>
              <a:gd name="connsiteY22" fmla="*/ 4464050 h 4464050"/>
              <a:gd name="connsiteX23" fmla="*/ 0 w 4459850"/>
              <a:gd name="connsiteY23" fmla="*/ 4464050 h 4464050"/>
              <a:gd name="connsiteX24" fmla="*/ 0 w 4459850"/>
              <a:gd name="connsiteY24" fmla="*/ 0 h 4464050"/>
              <a:gd name="connsiteX0" fmla="*/ 3660238 w 4459850"/>
              <a:gd name="connsiteY0" fmla="*/ 389341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1672385 w 4459850"/>
              <a:gd name="connsiteY3" fmla="*/ 0 h 4464050"/>
              <a:gd name="connsiteX4" fmla="*/ 1673781 w 4459850"/>
              <a:gd name="connsiteY4" fmla="*/ 0 h 4464050"/>
              <a:gd name="connsiteX5" fmla="*/ 2175191 w 4459850"/>
              <a:gd name="connsiteY5" fmla="*/ 570628 h 4464050"/>
              <a:gd name="connsiteX6" fmla="*/ 2175191 w 4459850"/>
              <a:gd name="connsiteY6" fmla="*/ 3893320 h 4464050"/>
              <a:gd name="connsiteX7" fmla="*/ 1673690 w 4459850"/>
              <a:gd name="connsiteY7" fmla="*/ 4464050 h 4464050"/>
              <a:gd name="connsiteX8" fmla="*/ 1672385 w 4459850"/>
              <a:gd name="connsiteY8" fmla="*/ 4464050 h 4464050"/>
              <a:gd name="connsiteX9" fmla="*/ 1672385 w 4459850"/>
              <a:gd name="connsiteY9" fmla="*/ 0 h 4464050"/>
              <a:gd name="connsiteX10" fmla="*/ 923822 w 4459850"/>
              <a:gd name="connsiteY10" fmla="*/ 0 h 4464050"/>
              <a:gd name="connsiteX11" fmla="*/ 925575 w 4459850"/>
              <a:gd name="connsiteY11" fmla="*/ 0 h 4464050"/>
              <a:gd name="connsiteX12" fmla="*/ 1555348 w 4459850"/>
              <a:gd name="connsiteY12" fmla="*/ 570628 h 4464050"/>
              <a:gd name="connsiteX13" fmla="*/ 1555348 w 4459850"/>
              <a:gd name="connsiteY13" fmla="*/ 3893320 h 4464050"/>
              <a:gd name="connsiteX14" fmla="*/ 925461 w 4459850"/>
              <a:gd name="connsiteY14" fmla="*/ 4464050 h 4464050"/>
              <a:gd name="connsiteX15" fmla="*/ 923822 w 4459850"/>
              <a:gd name="connsiteY15" fmla="*/ 4464050 h 4464050"/>
              <a:gd name="connsiteX16" fmla="*/ 923822 w 4459850"/>
              <a:gd name="connsiteY16" fmla="*/ 0 h 4464050"/>
              <a:gd name="connsiteX17" fmla="*/ 0 w 4459850"/>
              <a:gd name="connsiteY17" fmla="*/ 0 h 4464050"/>
              <a:gd name="connsiteX18" fmla="*/ 2239 w 4459850"/>
              <a:gd name="connsiteY18" fmla="*/ 0 h 4464050"/>
              <a:gd name="connsiteX19" fmla="*/ 806883 w 4459850"/>
              <a:gd name="connsiteY19" fmla="*/ 570628 h 4464050"/>
              <a:gd name="connsiteX20" fmla="*/ 806883 w 4459850"/>
              <a:gd name="connsiteY20" fmla="*/ 3893419 h 4464050"/>
              <a:gd name="connsiteX21" fmla="*/ 2234 w 4459850"/>
              <a:gd name="connsiteY21" fmla="*/ 4464050 h 4464050"/>
              <a:gd name="connsiteX22" fmla="*/ 0 w 4459850"/>
              <a:gd name="connsiteY22" fmla="*/ 4464050 h 4464050"/>
              <a:gd name="connsiteX23" fmla="*/ 0 w 4459850"/>
              <a:gd name="connsiteY23" fmla="*/ 0 h 4464050"/>
              <a:gd name="connsiteX0" fmla="*/ 1672385 w 2175191"/>
              <a:gd name="connsiteY0" fmla="*/ 0 h 4464050"/>
              <a:gd name="connsiteX1" fmla="*/ 1673781 w 2175191"/>
              <a:gd name="connsiteY1" fmla="*/ 0 h 4464050"/>
              <a:gd name="connsiteX2" fmla="*/ 2175191 w 2175191"/>
              <a:gd name="connsiteY2" fmla="*/ 570628 h 4464050"/>
              <a:gd name="connsiteX3" fmla="*/ 2175191 w 2175191"/>
              <a:gd name="connsiteY3" fmla="*/ 3893320 h 4464050"/>
              <a:gd name="connsiteX4" fmla="*/ 1673690 w 2175191"/>
              <a:gd name="connsiteY4" fmla="*/ 4464050 h 4464050"/>
              <a:gd name="connsiteX5" fmla="*/ 1672385 w 2175191"/>
              <a:gd name="connsiteY5" fmla="*/ 4464050 h 4464050"/>
              <a:gd name="connsiteX6" fmla="*/ 1672385 w 2175191"/>
              <a:gd name="connsiteY6" fmla="*/ 0 h 4464050"/>
              <a:gd name="connsiteX7" fmla="*/ 923822 w 2175191"/>
              <a:gd name="connsiteY7" fmla="*/ 0 h 4464050"/>
              <a:gd name="connsiteX8" fmla="*/ 925575 w 2175191"/>
              <a:gd name="connsiteY8" fmla="*/ 0 h 4464050"/>
              <a:gd name="connsiteX9" fmla="*/ 1555348 w 2175191"/>
              <a:gd name="connsiteY9" fmla="*/ 570628 h 4464050"/>
              <a:gd name="connsiteX10" fmla="*/ 1555348 w 2175191"/>
              <a:gd name="connsiteY10" fmla="*/ 3893320 h 4464050"/>
              <a:gd name="connsiteX11" fmla="*/ 925461 w 2175191"/>
              <a:gd name="connsiteY11" fmla="*/ 4464050 h 4464050"/>
              <a:gd name="connsiteX12" fmla="*/ 923822 w 2175191"/>
              <a:gd name="connsiteY12" fmla="*/ 4464050 h 4464050"/>
              <a:gd name="connsiteX13" fmla="*/ 923822 w 2175191"/>
              <a:gd name="connsiteY13" fmla="*/ 0 h 4464050"/>
              <a:gd name="connsiteX14" fmla="*/ 0 w 2175191"/>
              <a:gd name="connsiteY14" fmla="*/ 0 h 4464050"/>
              <a:gd name="connsiteX15" fmla="*/ 2239 w 2175191"/>
              <a:gd name="connsiteY15" fmla="*/ 0 h 4464050"/>
              <a:gd name="connsiteX16" fmla="*/ 806883 w 2175191"/>
              <a:gd name="connsiteY16" fmla="*/ 570628 h 4464050"/>
              <a:gd name="connsiteX17" fmla="*/ 806883 w 2175191"/>
              <a:gd name="connsiteY17" fmla="*/ 3893419 h 4464050"/>
              <a:gd name="connsiteX18" fmla="*/ 2234 w 2175191"/>
              <a:gd name="connsiteY18" fmla="*/ 4464050 h 4464050"/>
              <a:gd name="connsiteX19" fmla="*/ 0 w 2175191"/>
              <a:gd name="connsiteY19" fmla="*/ 4464050 h 4464050"/>
              <a:gd name="connsiteX20" fmla="*/ 0 w 2175191"/>
              <a:gd name="connsiteY20" fmla="*/ 0 h 446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175191" h="4464050">
                <a:moveTo>
                  <a:pt x="1672385" y="0"/>
                </a:moveTo>
                <a:lnTo>
                  <a:pt x="1673781" y="0"/>
                </a:lnTo>
                <a:lnTo>
                  <a:pt x="2175191" y="570628"/>
                </a:lnTo>
                <a:lnTo>
                  <a:pt x="2175191" y="3893320"/>
                </a:lnTo>
                <a:lnTo>
                  <a:pt x="1673690" y="4464050"/>
                </a:lnTo>
                <a:lnTo>
                  <a:pt x="1672385" y="4464050"/>
                </a:lnTo>
                <a:lnTo>
                  <a:pt x="1672385" y="0"/>
                </a:lnTo>
                <a:close/>
                <a:moveTo>
                  <a:pt x="923822" y="0"/>
                </a:moveTo>
                <a:lnTo>
                  <a:pt x="925575" y="0"/>
                </a:lnTo>
                <a:lnTo>
                  <a:pt x="1555348" y="570628"/>
                </a:lnTo>
                <a:lnTo>
                  <a:pt x="1555348" y="3893320"/>
                </a:lnTo>
                <a:lnTo>
                  <a:pt x="925461" y="4464050"/>
                </a:lnTo>
                <a:lnTo>
                  <a:pt x="923822" y="4464050"/>
                </a:lnTo>
                <a:lnTo>
                  <a:pt x="923822" y="0"/>
                </a:lnTo>
                <a:close/>
                <a:moveTo>
                  <a:pt x="0" y="0"/>
                </a:moveTo>
                <a:lnTo>
                  <a:pt x="2239" y="0"/>
                </a:lnTo>
                <a:lnTo>
                  <a:pt x="806883" y="570628"/>
                </a:lnTo>
                <a:lnTo>
                  <a:pt x="806883" y="3893419"/>
                </a:lnTo>
                <a:lnTo>
                  <a:pt x="2234" y="4464050"/>
                </a:lnTo>
                <a:lnTo>
                  <a:pt x="0" y="446405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278982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4" userDrawn="1">
          <p15:clr>
            <a:srgbClr val="F26B43"/>
          </p15:clr>
        </p15:guide>
        <p15:guide id="2" orient="horz" pos="518" userDrawn="1">
          <p15:clr>
            <a:srgbClr val="547EBF"/>
          </p15:clr>
        </p15:guide>
        <p15:guide id="3" orient="horz" pos="270" userDrawn="1">
          <p15:clr>
            <a:srgbClr val="547EBF"/>
          </p15:clr>
        </p15:guide>
        <p15:guide id="4" pos="272" userDrawn="1">
          <p15:clr>
            <a:srgbClr val="547EBF"/>
          </p15:clr>
        </p15:guide>
        <p15:guide id="5" orient="horz" pos="2822" userDrawn="1">
          <p15:clr>
            <a:srgbClr val="F26B43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abel Cover -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918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918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sp>
        <p:nvSpPr>
          <p:cNvPr id="2" name="Picture Placeholder 29">
            <a:extLst>
              <a:ext uri="{FF2B5EF4-FFF2-40B4-BE49-F238E27FC236}">
                <a16:creationId xmlns:a16="http://schemas.microsoft.com/office/drawing/2014/main" id="{CB11B69D-F8A0-EBDF-8FDF-F6C59FB328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409628" y="411164"/>
            <a:ext cx="2323309" cy="3097745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4" name="Picture Placeholder 29">
            <a:extLst>
              <a:ext uri="{FF2B5EF4-FFF2-40B4-BE49-F238E27FC236}">
                <a16:creationId xmlns:a16="http://schemas.microsoft.com/office/drawing/2014/main" id="{162FE58C-01D8-66F8-BE7C-FC85A10D21A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5926" y="824441"/>
            <a:ext cx="2323309" cy="3097745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5" name="Picture Placeholder 29">
            <a:extLst>
              <a:ext uri="{FF2B5EF4-FFF2-40B4-BE49-F238E27FC236}">
                <a16:creationId xmlns:a16="http://schemas.microsoft.com/office/drawing/2014/main" id="{6557B76C-2C46-F1C3-C076-3C704E6244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622224" y="1237718"/>
            <a:ext cx="2323309" cy="3097745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247D551-215C-3522-32F8-C9D8DCC05F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  <p:pic>
        <p:nvPicPr>
          <p:cNvPr id="6" name="Graphic 25">
            <a:extLst>
              <a:ext uri="{FF2B5EF4-FFF2-40B4-BE49-F238E27FC236}">
                <a16:creationId xmlns:a16="http://schemas.microsoft.com/office/drawing/2014/main" id="{67DB0DC4-D12C-5AA2-02A0-0D5D7A69C52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4975" y="4483099"/>
            <a:ext cx="1425722" cy="469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36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4" userDrawn="1">
          <p15:clr>
            <a:srgbClr val="F26B43"/>
          </p15:clr>
        </p15:guide>
        <p15:guide id="2" orient="horz" pos="518" userDrawn="1">
          <p15:clr>
            <a:srgbClr val="547EBF"/>
          </p15:clr>
        </p15:guide>
        <p15:guide id="3" orient="horz" pos="270" userDrawn="1">
          <p15:clr>
            <a:srgbClr val="547EBF"/>
          </p15:clr>
        </p15:guide>
        <p15:guide id="4" pos="272" userDrawn="1">
          <p15:clr>
            <a:srgbClr val="547EBF"/>
          </p15:clr>
        </p15:guide>
        <p15:guide id="5" orient="horz" pos="2822" userDrawn="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abel Cover -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918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918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sp>
        <p:nvSpPr>
          <p:cNvPr id="2" name="Picture Placeholder 29">
            <a:extLst>
              <a:ext uri="{FF2B5EF4-FFF2-40B4-BE49-F238E27FC236}">
                <a16:creationId xmlns:a16="http://schemas.microsoft.com/office/drawing/2014/main" id="{CB11B69D-F8A0-EBDF-8FDF-F6C59FB328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409628" y="411164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4" name="Picture Placeholder 29">
            <a:extLst>
              <a:ext uri="{FF2B5EF4-FFF2-40B4-BE49-F238E27FC236}">
                <a16:creationId xmlns:a16="http://schemas.microsoft.com/office/drawing/2014/main" id="{162FE58C-01D8-66F8-BE7C-FC85A10D21A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5926" y="824441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5" name="Picture Placeholder 29">
            <a:extLst>
              <a:ext uri="{FF2B5EF4-FFF2-40B4-BE49-F238E27FC236}">
                <a16:creationId xmlns:a16="http://schemas.microsoft.com/office/drawing/2014/main" id="{6557B76C-2C46-F1C3-C076-3C704E6244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622224" y="1237718"/>
            <a:ext cx="2323309" cy="30977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247D551-215C-3522-32F8-C9D8DCC05F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  <p:pic>
        <p:nvPicPr>
          <p:cNvPr id="6" name="Graphic 25">
            <a:extLst>
              <a:ext uri="{FF2B5EF4-FFF2-40B4-BE49-F238E27FC236}">
                <a16:creationId xmlns:a16="http://schemas.microsoft.com/office/drawing/2014/main" id="{67DB0DC4-D12C-5AA2-02A0-0D5D7A69C52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4975" y="4483099"/>
            <a:ext cx="1425722" cy="469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944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4" userDrawn="1">
          <p15:clr>
            <a:srgbClr val="F26B43"/>
          </p15:clr>
        </p15:guide>
        <p15:guide id="2" orient="horz" pos="518" userDrawn="1">
          <p15:clr>
            <a:srgbClr val="547EBF"/>
          </p15:clr>
        </p15:guide>
        <p15:guide id="3" orient="horz" pos="270" userDrawn="1">
          <p15:clr>
            <a:srgbClr val="547EBF"/>
          </p15:clr>
        </p15:guide>
        <p15:guide id="4" pos="272" userDrawn="1">
          <p15:clr>
            <a:srgbClr val="547EBF"/>
          </p15:clr>
        </p15:guide>
        <p15:guide id="5" orient="horz" pos="2822" userDrawn="1">
          <p15:clr>
            <a:srgbClr val="F26B43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ogo Cover -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933D8557-708A-63F8-E3F0-46300F55EE9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481746" y="411163"/>
            <a:ext cx="3230454" cy="3889376"/>
          </a:xfrm>
          <a:custGeom>
            <a:avLst/>
            <a:gdLst>
              <a:gd name="connsiteX0" fmla="*/ 1287193 w 3289788"/>
              <a:gd name="connsiteY0" fmla="*/ 0 h 3960812"/>
              <a:gd name="connsiteX1" fmla="*/ 3289788 w 3289788"/>
              <a:gd name="connsiteY1" fmla="*/ 0 h 3960812"/>
              <a:gd name="connsiteX2" fmla="*/ 3289788 w 3289788"/>
              <a:gd name="connsiteY2" fmla="*/ 2670127 h 3960812"/>
              <a:gd name="connsiteX3" fmla="*/ 3032351 w 3289788"/>
              <a:gd name="connsiteY3" fmla="*/ 2670127 h 3960812"/>
              <a:gd name="connsiteX4" fmla="*/ 3032351 w 3289788"/>
              <a:gd name="connsiteY4" fmla="*/ 2928264 h 3960812"/>
              <a:gd name="connsiteX5" fmla="*/ 2774912 w 3289788"/>
              <a:gd name="connsiteY5" fmla="*/ 2928264 h 3960812"/>
              <a:gd name="connsiteX6" fmla="*/ 2774912 w 3289788"/>
              <a:gd name="connsiteY6" fmla="*/ 3186401 h 3960812"/>
              <a:gd name="connsiteX7" fmla="*/ 2517473 w 3289788"/>
              <a:gd name="connsiteY7" fmla="*/ 3186401 h 3960812"/>
              <a:gd name="connsiteX8" fmla="*/ 2517473 w 3289788"/>
              <a:gd name="connsiteY8" fmla="*/ 3444538 h 3960812"/>
              <a:gd name="connsiteX9" fmla="*/ 2260034 w 3289788"/>
              <a:gd name="connsiteY9" fmla="*/ 3444538 h 3960812"/>
              <a:gd name="connsiteX10" fmla="*/ 2260034 w 3289788"/>
              <a:gd name="connsiteY10" fmla="*/ 3702675 h 3960812"/>
              <a:gd name="connsiteX11" fmla="*/ 2002595 w 3289788"/>
              <a:gd name="connsiteY11" fmla="*/ 3702675 h 3960812"/>
              <a:gd name="connsiteX12" fmla="*/ 2002595 w 3289788"/>
              <a:gd name="connsiteY12" fmla="*/ 3960812 h 3960812"/>
              <a:gd name="connsiteX13" fmla="*/ 0 w 3289788"/>
              <a:gd name="connsiteY13" fmla="*/ 3960812 h 3960812"/>
              <a:gd name="connsiteX14" fmla="*/ 0 w 3289788"/>
              <a:gd name="connsiteY14" fmla="*/ 1290685 h 3960812"/>
              <a:gd name="connsiteX15" fmla="*/ 257439 w 3289788"/>
              <a:gd name="connsiteY15" fmla="*/ 1290685 h 3960812"/>
              <a:gd name="connsiteX16" fmla="*/ 257439 w 3289788"/>
              <a:gd name="connsiteY16" fmla="*/ 1032548 h 3960812"/>
              <a:gd name="connsiteX17" fmla="*/ 514878 w 3289788"/>
              <a:gd name="connsiteY17" fmla="*/ 1032548 h 3960812"/>
              <a:gd name="connsiteX18" fmla="*/ 514878 w 3289788"/>
              <a:gd name="connsiteY18" fmla="*/ 774411 h 3960812"/>
              <a:gd name="connsiteX19" fmla="*/ 772317 w 3289788"/>
              <a:gd name="connsiteY19" fmla="*/ 774411 h 3960812"/>
              <a:gd name="connsiteX20" fmla="*/ 772317 w 3289788"/>
              <a:gd name="connsiteY20" fmla="*/ 516274 h 3960812"/>
              <a:gd name="connsiteX21" fmla="*/ 1029756 w 3289788"/>
              <a:gd name="connsiteY21" fmla="*/ 516274 h 3960812"/>
              <a:gd name="connsiteX22" fmla="*/ 1029756 w 3289788"/>
              <a:gd name="connsiteY22" fmla="*/ 258137 h 3960812"/>
              <a:gd name="connsiteX23" fmla="*/ 1287193 w 3289788"/>
              <a:gd name="connsiteY23" fmla="*/ 258137 h 3960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289788" h="3960812">
                <a:moveTo>
                  <a:pt x="1287193" y="0"/>
                </a:moveTo>
                <a:lnTo>
                  <a:pt x="3289788" y="0"/>
                </a:lnTo>
                <a:lnTo>
                  <a:pt x="3289788" y="2670127"/>
                </a:lnTo>
                <a:lnTo>
                  <a:pt x="3032351" y="2670127"/>
                </a:lnTo>
                <a:lnTo>
                  <a:pt x="3032351" y="2928264"/>
                </a:lnTo>
                <a:lnTo>
                  <a:pt x="2774912" y="2928264"/>
                </a:lnTo>
                <a:lnTo>
                  <a:pt x="2774912" y="3186401"/>
                </a:lnTo>
                <a:lnTo>
                  <a:pt x="2517473" y="3186401"/>
                </a:lnTo>
                <a:lnTo>
                  <a:pt x="2517473" y="3444538"/>
                </a:lnTo>
                <a:lnTo>
                  <a:pt x="2260034" y="3444538"/>
                </a:lnTo>
                <a:lnTo>
                  <a:pt x="2260034" y="3702675"/>
                </a:lnTo>
                <a:lnTo>
                  <a:pt x="2002595" y="3702675"/>
                </a:lnTo>
                <a:lnTo>
                  <a:pt x="2002595" y="3960812"/>
                </a:lnTo>
                <a:lnTo>
                  <a:pt x="0" y="3960812"/>
                </a:lnTo>
                <a:lnTo>
                  <a:pt x="0" y="1290685"/>
                </a:lnTo>
                <a:lnTo>
                  <a:pt x="257439" y="1290685"/>
                </a:lnTo>
                <a:lnTo>
                  <a:pt x="257439" y="1032548"/>
                </a:lnTo>
                <a:lnTo>
                  <a:pt x="514878" y="1032548"/>
                </a:lnTo>
                <a:lnTo>
                  <a:pt x="514878" y="774411"/>
                </a:lnTo>
                <a:lnTo>
                  <a:pt x="772317" y="774411"/>
                </a:lnTo>
                <a:lnTo>
                  <a:pt x="772317" y="516274"/>
                </a:lnTo>
                <a:lnTo>
                  <a:pt x="1029756" y="516274"/>
                </a:lnTo>
                <a:lnTo>
                  <a:pt x="1029756" y="258137"/>
                </a:lnTo>
                <a:lnTo>
                  <a:pt x="1287193" y="258137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Insert pictur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918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918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58931E8-9625-77F8-7BBF-076FE66C8C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722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094" userDrawn="1">
          <p15:clr>
            <a:srgbClr val="547EBF"/>
          </p15:clr>
        </p15:guide>
        <p15:guide id="3" orient="horz" pos="2822" userDrawn="1">
          <p15:clr>
            <a:srgbClr val="547EBF"/>
          </p15:clr>
        </p15:guide>
        <p15:guide id="4" pos="272" userDrawn="1">
          <p15:clr>
            <a:srgbClr val="547EB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ogo Cover -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918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918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sp>
        <p:nvSpPr>
          <p:cNvPr id="2" name="Picture Placeholder 48">
            <a:extLst>
              <a:ext uri="{FF2B5EF4-FFF2-40B4-BE49-F238E27FC236}">
                <a16:creationId xmlns:a16="http://schemas.microsoft.com/office/drawing/2014/main" id="{A7551421-354E-1441-AEFF-FA5F95FCD9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935426" y="626385"/>
            <a:ext cx="3770985" cy="3709078"/>
          </a:xfrm>
          <a:custGeom>
            <a:avLst/>
            <a:gdLst>
              <a:gd name="connsiteX0" fmla="*/ 446456 w 3478814"/>
              <a:gd name="connsiteY0" fmla="*/ 2633052 h 3421704"/>
              <a:gd name="connsiteX1" fmla="*/ 3033202 w 3478814"/>
              <a:gd name="connsiteY1" fmla="*/ 2633052 h 3421704"/>
              <a:gd name="connsiteX2" fmla="*/ 3478814 w 3478814"/>
              <a:gd name="connsiteY2" fmla="*/ 3421704 h 3421704"/>
              <a:gd name="connsiteX3" fmla="*/ 0 w 3478814"/>
              <a:gd name="connsiteY3" fmla="*/ 3421704 h 3421704"/>
              <a:gd name="connsiteX4" fmla="*/ 446456 w 3478814"/>
              <a:gd name="connsiteY4" fmla="*/ 1755087 h 3421704"/>
              <a:gd name="connsiteX5" fmla="*/ 3033202 w 3478814"/>
              <a:gd name="connsiteY5" fmla="*/ 1755087 h 3421704"/>
              <a:gd name="connsiteX6" fmla="*/ 3478814 w 3478814"/>
              <a:gd name="connsiteY6" fmla="*/ 2543739 h 3421704"/>
              <a:gd name="connsiteX7" fmla="*/ 0 w 3478814"/>
              <a:gd name="connsiteY7" fmla="*/ 2543739 h 3421704"/>
              <a:gd name="connsiteX8" fmla="*/ 446456 w 3478814"/>
              <a:gd name="connsiteY8" fmla="*/ 877965 h 3421704"/>
              <a:gd name="connsiteX9" fmla="*/ 3033202 w 3478814"/>
              <a:gd name="connsiteY9" fmla="*/ 877965 h 3421704"/>
              <a:gd name="connsiteX10" fmla="*/ 3478814 w 3478814"/>
              <a:gd name="connsiteY10" fmla="*/ 1666617 h 3421704"/>
              <a:gd name="connsiteX11" fmla="*/ 0 w 3478814"/>
              <a:gd name="connsiteY11" fmla="*/ 1666617 h 3421704"/>
              <a:gd name="connsiteX12" fmla="*/ 446456 w 3478814"/>
              <a:gd name="connsiteY12" fmla="*/ 0 h 3421704"/>
              <a:gd name="connsiteX13" fmla="*/ 3033202 w 3478814"/>
              <a:gd name="connsiteY13" fmla="*/ 0 h 3421704"/>
              <a:gd name="connsiteX14" fmla="*/ 3478814 w 3478814"/>
              <a:gd name="connsiteY14" fmla="*/ 788652 h 3421704"/>
              <a:gd name="connsiteX15" fmla="*/ 0 w 3478814"/>
              <a:gd name="connsiteY15" fmla="*/ 788652 h 3421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78814" h="3421704">
                <a:moveTo>
                  <a:pt x="446456" y="2633052"/>
                </a:moveTo>
                <a:lnTo>
                  <a:pt x="3033202" y="2633052"/>
                </a:lnTo>
                <a:lnTo>
                  <a:pt x="3478814" y="3421704"/>
                </a:lnTo>
                <a:lnTo>
                  <a:pt x="0" y="3421704"/>
                </a:lnTo>
                <a:close/>
                <a:moveTo>
                  <a:pt x="446456" y="1755087"/>
                </a:moveTo>
                <a:lnTo>
                  <a:pt x="3033202" y="1755087"/>
                </a:lnTo>
                <a:lnTo>
                  <a:pt x="3478814" y="2543739"/>
                </a:lnTo>
                <a:lnTo>
                  <a:pt x="0" y="2543739"/>
                </a:lnTo>
                <a:close/>
                <a:moveTo>
                  <a:pt x="446456" y="877965"/>
                </a:moveTo>
                <a:lnTo>
                  <a:pt x="3033202" y="877965"/>
                </a:lnTo>
                <a:lnTo>
                  <a:pt x="3478814" y="1666617"/>
                </a:lnTo>
                <a:lnTo>
                  <a:pt x="0" y="1666617"/>
                </a:lnTo>
                <a:close/>
                <a:moveTo>
                  <a:pt x="446456" y="0"/>
                </a:moveTo>
                <a:lnTo>
                  <a:pt x="3033202" y="0"/>
                </a:lnTo>
                <a:lnTo>
                  <a:pt x="3478814" y="788652"/>
                </a:lnTo>
                <a:lnTo>
                  <a:pt x="0" y="788652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>
            <a:lvl1pPr algn="ctr"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ED9150D-1613-F146-E32A-0CB05393DF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45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822" userDrawn="1">
          <p15:clr>
            <a:srgbClr val="547EBF"/>
          </p15:clr>
        </p15:guide>
        <p15:guide id="3" orient="horz" pos="3094" userDrawn="1">
          <p15:clr>
            <a:srgbClr val="547EBF"/>
          </p15:clr>
        </p15:guide>
        <p15:guide id="4" pos="272" userDrawn="1">
          <p15:clr>
            <a:srgbClr val="547EB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ogo Cover -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918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918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sp>
        <p:nvSpPr>
          <p:cNvPr id="3" name="Picture Placeholder 19">
            <a:extLst>
              <a:ext uri="{FF2B5EF4-FFF2-40B4-BE49-F238E27FC236}">
                <a16:creationId xmlns:a16="http://schemas.microsoft.com/office/drawing/2014/main" id="{225CEF58-569D-9BFC-90A5-8CD7AAA050F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028600" y="411164"/>
            <a:ext cx="3682128" cy="3924299"/>
          </a:xfrm>
          <a:custGeom>
            <a:avLst/>
            <a:gdLst>
              <a:gd name="connsiteX0" fmla="*/ 0 w 4171131"/>
              <a:gd name="connsiteY0" fmla="*/ 1 h 4445464"/>
              <a:gd name="connsiteX1" fmla="*/ 943908 w 4171131"/>
              <a:gd name="connsiteY1" fmla="*/ 569527 h 4445464"/>
              <a:gd name="connsiteX2" fmla="*/ 943908 w 4171131"/>
              <a:gd name="connsiteY2" fmla="*/ 3875937 h 4445464"/>
              <a:gd name="connsiteX3" fmla="*/ 0 w 4171131"/>
              <a:gd name="connsiteY3" fmla="*/ 4445464 h 4445464"/>
              <a:gd name="connsiteX4" fmla="*/ 3227322 w 4171131"/>
              <a:gd name="connsiteY4" fmla="*/ 0 h 4445464"/>
              <a:gd name="connsiteX5" fmla="*/ 4171131 w 4171131"/>
              <a:gd name="connsiteY5" fmla="*/ 569527 h 4445464"/>
              <a:gd name="connsiteX6" fmla="*/ 4171131 w 4171131"/>
              <a:gd name="connsiteY6" fmla="*/ 3875937 h 4445464"/>
              <a:gd name="connsiteX7" fmla="*/ 3227322 w 4171131"/>
              <a:gd name="connsiteY7" fmla="*/ 4445464 h 4445464"/>
              <a:gd name="connsiteX8" fmla="*/ 2131400 w 4171131"/>
              <a:gd name="connsiteY8" fmla="*/ 0 h 4445464"/>
              <a:gd name="connsiteX9" fmla="*/ 3105631 w 4171131"/>
              <a:gd name="connsiteY9" fmla="*/ 569527 h 4445464"/>
              <a:gd name="connsiteX10" fmla="*/ 3105631 w 4171131"/>
              <a:gd name="connsiteY10" fmla="*/ 3875937 h 4445464"/>
              <a:gd name="connsiteX11" fmla="*/ 2131400 w 4171131"/>
              <a:gd name="connsiteY11" fmla="*/ 4445464 h 4445464"/>
              <a:gd name="connsiteX12" fmla="*/ 1065699 w 4171131"/>
              <a:gd name="connsiteY12" fmla="*/ 0 h 4445464"/>
              <a:gd name="connsiteX13" fmla="*/ 2040031 w 4171131"/>
              <a:gd name="connsiteY13" fmla="*/ 569527 h 4445464"/>
              <a:gd name="connsiteX14" fmla="*/ 2040031 w 4171131"/>
              <a:gd name="connsiteY14" fmla="*/ 3875937 h 4445464"/>
              <a:gd name="connsiteX15" fmla="*/ 1065699 w 4171131"/>
              <a:gd name="connsiteY15" fmla="*/ 4445464 h 4445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171131" h="4445464">
                <a:moveTo>
                  <a:pt x="0" y="1"/>
                </a:moveTo>
                <a:lnTo>
                  <a:pt x="943908" y="569527"/>
                </a:lnTo>
                <a:lnTo>
                  <a:pt x="943908" y="3875937"/>
                </a:lnTo>
                <a:lnTo>
                  <a:pt x="0" y="4445464"/>
                </a:lnTo>
                <a:close/>
                <a:moveTo>
                  <a:pt x="3227322" y="0"/>
                </a:moveTo>
                <a:lnTo>
                  <a:pt x="4171131" y="569527"/>
                </a:lnTo>
                <a:lnTo>
                  <a:pt x="4171131" y="3875937"/>
                </a:lnTo>
                <a:lnTo>
                  <a:pt x="3227322" y="4445464"/>
                </a:lnTo>
                <a:close/>
                <a:moveTo>
                  <a:pt x="2131400" y="0"/>
                </a:moveTo>
                <a:lnTo>
                  <a:pt x="3105631" y="569527"/>
                </a:lnTo>
                <a:lnTo>
                  <a:pt x="3105631" y="3875937"/>
                </a:lnTo>
                <a:lnTo>
                  <a:pt x="2131400" y="4445464"/>
                </a:lnTo>
                <a:close/>
                <a:moveTo>
                  <a:pt x="1065699" y="0"/>
                </a:moveTo>
                <a:lnTo>
                  <a:pt x="2040031" y="569527"/>
                </a:lnTo>
                <a:lnTo>
                  <a:pt x="2040031" y="3875937"/>
                </a:lnTo>
                <a:lnTo>
                  <a:pt x="1065699" y="4445464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insert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94ACFC5-D53C-B324-758C-416E26F66A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240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094" userDrawn="1">
          <p15:clr>
            <a:srgbClr val="547EBF"/>
          </p15:clr>
        </p15:guide>
        <p15:guide id="3" orient="horz" pos="2822" userDrawn="1">
          <p15:clr>
            <a:srgbClr val="547EBF"/>
          </p15:clr>
        </p15:guide>
        <p15:guide id="4" pos="272" userDrawn="1">
          <p15:clr>
            <a:srgbClr val="547EB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ogo Cover -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704107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704107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2357A365-B981-CBBC-D4A8-737E6786D8F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800442" y="428625"/>
            <a:ext cx="1905708" cy="3924299"/>
          </a:xfrm>
          <a:custGeom>
            <a:avLst/>
            <a:gdLst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3541647 w 4459850"/>
              <a:gd name="connsiteY4" fmla="*/ 0 h 4464050"/>
              <a:gd name="connsiteX5" fmla="*/ 3543399 w 4459850"/>
              <a:gd name="connsiteY5" fmla="*/ 0 h 4464050"/>
              <a:gd name="connsiteX6" fmla="*/ 3543399 w 4459850"/>
              <a:gd name="connsiteY6" fmla="*/ 4464050 h 4464050"/>
              <a:gd name="connsiteX7" fmla="*/ 3541650 w 4459850"/>
              <a:gd name="connsiteY7" fmla="*/ 4464050 h 4464050"/>
              <a:gd name="connsiteX8" fmla="*/ 2911872 w 4459850"/>
              <a:gd name="connsiteY8" fmla="*/ 3893419 h 4464050"/>
              <a:gd name="connsiteX9" fmla="*/ 2911872 w 4459850"/>
              <a:gd name="connsiteY9" fmla="*/ 570628 h 4464050"/>
              <a:gd name="connsiteX10" fmla="*/ 2793440 w 4459850"/>
              <a:gd name="connsiteY10" fmla="*/ 0 h 4464050"/>
              <a:gd name="connsiteX11" fmla="*/ 2794835 w 4459850"/>
              <a:gd name="connsiteY11" fmla="*/ 0 h 4464050"/>
              <a:gd name="connsiteX12" fmla="*/ 2794835 w 4459850"/>
              <a:gd name="connsiteY12" fmla="*/ 4464050 h 4464050"/>
              <a:gd name="connsiteX13" fmla="*/ 2793443 w 4459850"/>
              <a:gd name="connsiteY13" fmla="*/ 4464050 h 4464050"/>
              <a:gd name="connsiteX14" fmla="*/ 2292030 w 4459850"/>
              <a:gd name="connsiteY14" fmla="*/ 3893419 h 4464050"/>
              <a:gd name="connsiteX15" fmla="*/ 2292030 w 4459850"/>
              <a:gd name="connsiteY15" fmla="*/ 570628 h 4464050"/>
              <a:gd name="connsiteX16" fmla="*/ 1672385 w 4459850"/>
              <a:gd name="connsiteY16" fmla="*/ 0 h 4464050"/>
              <a:gd name="connsiteX17" fmla="*/ 1673781 w 4459850"/>
              <a:gd name="connsiteY17" fmla="*/ 0 h 4464050"/>
              <a:gd name="connsiteX18" fmla="*/ 2175191 w 4459850"/>
              <a:gd name="connsiteY18" fmla="*/ 570628 h 4464050"/>
              <a:gd name="connsiteX19" fmla="*/ 2175191 w 4459850"/>
              <a:gd name="connsiteY19" fmla="*/ 3893320 h 4464050"/>
              <a:gd name="connsiteX20" fmla="*/ 1673690 w 4459850"/>
              <a:gd name="connsiteY20" fmla="*/ 4464050 h 4464050"/>
              <a:gd name="connsiteX21" fmla="*/ 1672385 w 4459850"/>
              <a:gd name="connsiteY21" fmla="*/ 4464050 h 4464050"/>
              <a:gd name="connsiteX22" fmla="*/ 923822 w 4459850"/>
              <a:gd name="connsiteY22" fmla="*/ 0 h 4464050"/>
              <a:gd name="connsiteX23" fmla="*/ 925575 w 4459850"/>
              <a:gd name="connsiteY23" fmla="*/ 0 h 4464050"/>
              <a:gd name="connsiteX24" fmla="*/ 1555348 w 4459850"/>
              <a:gd name="connsiteY24" fmla="*/ 570628 h 4464050"/>
              <a:gd name="connsiteX25" fmla="*/ 1555348 w 4459850"/>
              <a:gd name="connsiteY25" fmla="*/ 3893320 h 4464050"/>
              <a:gd name="connsiteX26" fmla="*/ 925461 w 4459850"/>
              <a:gd name="connsiteY26" fmla="*/ 4464050 h 4464050"/>
              <a:gd name="connsiteX27" fmla="*/ 923822 w 4459850"/>
              <a:gd name="connsiteY27" fmla="*/ 4464050 h 4464050"/>
              <a:gd name="connsiteX28" fmla="*/ 0 w 4459850"/>
              <a:gd name="connsiteY28" fmla="*/ 0 h 4464050"/>
              <a:gd name="connsiteX29" fmla="*/ 2239 w 4459850"/>
              <a:gd name="connsiteY29" fmla="*/ 0 h 4464050"/>
              <a:gd name="connsiteX30" fmla="*/ 806883 w 4459850"/>
              <a:gd name="connsiteY30" fmla="*/ 570628 h 4464050"/>
              <a:gd name="connsiteX31" fmla="*/ 806883 w 4459850"/>
              <a:gd name="connsiteY31" fmla="*/ 3893419 h 4464050"/>
              <a:gd name="connsiteX32" fmla="*/ 2234 w 4459850"/>
              <a:gd name="connsiteY32" fmla="*/ 4464050 h 4464050"/>
              <a:gd name="connsiteX33" fmla="*/ 0 w 4459850"/>
              <a:gd name="connsiteY33" fmla="*/ 446405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793440 w 4459850"/>
              <a:gd name="connsiteY12" fmla="*/ 0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2292030 w 4459850"/>
              <a:gd name="connsiteY17" fmla="*/ 570628 h 4464050"/>
              <a:gd name="connsiteX18" fmla="*/ 2793440 w 4459850"/>
              <a:gd name="connsiteY18" fmla="*/ 0 h 4464050"/>
              <a:gd name="connsiteX19" fmla="*/ 1672385 w 4459850"/>
              <a:gd name="connsiteY19" fmla="*/ 0 h 4464050"/>
              <a:gd name="connsiteX20" fmla="*/ 1673781 w 4459850"/>
              <a:gd name="connsiteY20" fmla="*/ 0 h 4464050"/>
              <a:gd name="connsiteX21" fmla="*/ 2175191 w 4459850"/>
              <a:gd name="connsiteY21" fmla="*/ 570628 h 4464050"/>
              <a:gd name="connsiteX22" fmla="*/ 2175191 w 4459850"/>
              <a:gd name="connsiteY22" fmla="*/ 3893320 h 4464050"/>
              <a:gd name="connsiteX23" fmla="*/ 1673690 w 4459850"/>
              <a:gd name="connsiteY23" fmla="*/ 4464050 h 4464050"/>
              <a:gd name="connsiteX24" fmla="*/ 1672385 w 4459850"/>
              <a:gd name="connsiteY24" fmla="*/ 4464050 h 4464050"/>
              <a:gd name="connsiteX25" fmla="*/ 1672385 w 4459850"/>
              <a:gd name="connsiteY25" fmla="*/ 0 h 4464050"/>
              <a:gd name="connsiteX26" fmla="*/ 923822 w 4459850"/>
              <a:gd name="connsiteY26" fmla="*/ 0 h 4464050"/>
              <a:gd name="connsiteX27" fmla="*/ 925575 w 4459850"/>
              <a:gd name="connsiteY27" fmla="*/ 0 h 4464050"/>
              <a:gd name="connsiteX28" fmla="*/ 1555348 w 4459850"/>
              <a:gd name="connsiteY28" fmla="*/ 570628 h 4464050"/>
              <a:gd name="connsiteX29" fmla="*/ 1555348 w 4459850"/>
              <a:gd name="connsiteY29" fmla="*/ 3893320 h 4464050"/>
              <a:gd name="connsiteX30" fmla="*/ 925461 w 4459850"/>
              <a:gd name="connsiteY30" fmla="*/ 4464050 h 4464050"/>
              <a:gd name="connsiteX31" fmla="*/ 923822 w 4459850"/>
              <a:gd name="connsiteY31" fmla="*/ 4464050 h 4464050"/>
              <a:gd name="connsiteX32" fmla="*/ 923822 w 4459850"/>
              <a:gd name="connsiteY32" fmla="*/ 0 h 4464050"/>
              <a:gd name="connsiteX33" fmla="*/ 0 w 4459850"/>
              <a:gd name="connsiteY33" fmla="*/ 0 h 4464050"/>
              <a:gd name="connsiteX34" fmla="*/ 2239 w 4459850"/>
              <a:gd name="connsiteY34" fmla="*/ 0 h 4464050"/>
              <a:gd name="connsiteX35" fmla="*/ 806883 w 4459850"/>
              <a:gd name="connsiteY35" fmla="*/ 3893419 h 4464050"/>
              <a:gd name="connsiteX36" fmla="*/ 2234 w 4459850"/>
              <a:gd name="connsiteY36" fmla="*/ 4464050 h 4464050"/>
              <a:gd name="connsiteX37" fmla="*/ 0 w 4459850"/>
              <a:gd name="connsiteY37" fmla="*/ 4464050 h 4464050"/>
              <a:gd name="connsiteX38" fmla="*/ 0 w 4459850"/>
              <a:gd name="connsiteY38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793440 w 4459850"/>
              <a:gd name="connsiteY12" fmla="*/ 0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2292030 w 4459850"/>
              <a:gd name="connsiteY17" fmla="*/ 570628 h 4464050"/>
              <a:gd name="connsiteX18" fmla="*/ 2793440 w 4459850"/>
              <a:gd name="connsiteY18" fmla="*/ 0 h 4464050"/>
              <a:gd name="connsiteX19" fmla="*/ 1672385 w 4459850"/>
              <a:gd name="connsiteY19" fmla="*/ 0 h 4464050"/>
              <a:gd name="connsiteX20" fmla="*/ 1673781 w 4459850"/>
              <a:gd name="connsiteY20" fmla="*/ 0 h 4464050"/>
              <a:gd name="connsiteX21" fmla="*/ 2175191 w 4459850"/>
              <a:gd name="connsiteY21" fmla="*/ 570628 h 4464050"/>
              <a:gd name="connsiteX22" fmla="*/ 2175191 w 4459850"/>
              <a:gd name="connsiteY22" fmla="*/ 3893320 h 4464050"/>
              <a:gd name="connsiteX23" fmla="*/ 1673690 w 4459850"/>
              <a:gd name="connsiteY23" fmla="*/ 4464050 h 4464050"/>
              <a:gd name="connsiteX24" fmla="*/ 1672385 w 4459850"/>
              <a:gd name="connsiteY24" fmla="*/ 4464050 h 4464050"/>
              <a:gd name="connsiteX25" fmla="*/ 1672385 w 4459850"/>
              <a:gd name="connsiteY25" fmla="*/ 0 h 4464050"/>
              <a:gd name="connsiteX26" fmla="*/ 923822 w 4459850"/>
              <a:gd name="connsiteY26" fmla="*/ 0 h 4464050"/>
              <a:gd name="connsiteX27" fmla="*/ 925575 w 4459850"/>
              <a:gd name="connsiteY27" fmla="*/ 0 h 4464050"/>
              <a:gd name="connsiteX28" fmla="*/ 1555348 w 4459850"/>
              <a:gd name="connsiteY28" fmla="*/ 570628 h 4464050"/>
              <a:gd name="connsiteX29" fmla="*/ 1555348 w 4459850"/>
              <a:gd name="connsiteY29" fmla="*/ 3893320 h 4464050"/>
              <a:gd name="connsiteX30" fmla="*/ 925461 w 4459850"/>
              <a:gd name="connsiteY30" fmla="*/ 4464050 h 4464050"/>
              <a:gd name="connsiteX31" fmla="*/ 923822 w 4459850"/>
              <a:gd name="connsiteY31" fmla="*/ 4464050 h 4464050"/>
              <a:gd name="connsiteX32" fmla="*/ 923822 w 4459850"/>
              <a:gd name="connsiteY32" fmla="*/ 0 h 4464050"/>
              <a:gd name="connsiteX33" fmla="*/ 0 w 4459850"/>
              <a:gd name="connsiteY33" fmla="*/ 4464050 h 4464050"/>
              <a:gd name="connsiteX34" fmla="*/ 2239 w 4459850"/>
              <a:gd name="connsiteY34" fmla="*/ 0 h 4464050"/>
              <a:gd name="connsiteX35" fmla="*/ 806883 w 4459850"/>
              <a:gd name="connsiteY35" fmla="*/ 3893419 h 4464050"/>
              <a:gd name="connsiteX36" fmla="*/ 2234 w 4459850"/>
              <a:gd name="connsiteY36" fmla="*/ 4464050 h 4464050"/>
              <a:gd name="connsiteX37" fmla="*/ 0 w 4459850"/>
              <a:gd name="connsiteY37" fmla="*/ 4464050 h 4464050"/>
              <a:gd name="connsiteX0" fmla="*/ 4457616 w 4457616"/>
              <a:gd name="connsiteY0" fmla="*/ 3569 h 4464050"/>
              <a:gd name="connsiteX1" fmla="*/ 4457616 w 4457616"/>
              <a:gd name="connsiteY1" fmla="*/ 4460478 h 4464050"/>
              <a:gd name="connsiteX2" fmla="*/ 3658004 w 4457616"/>
              <a:gd name="connsiteY2" fmla="*/ 3893419 h 4464050"/>
              <a:gd name="connsiteX3" fmla="*/ 3658004 w 4457616"/>
              <a:gd name="connsiteY3" fmla="*/ 570628 h 4464050"/>
              <a:gd name="connsiteX4" fmla="*/ 4457616 w 4457616"/>
              <a:gd name="connsiteY4" fmla="*/ 3569 h 4464050"/>
              <a:gd name="connsiteX5" fmla="*/ 3539413 w 4457616"/>
              <a:gd name="connsiteY5" fmla="*/ 0 h 4464050"/>
              <a:gd name="connsiteX6" fmla="*/ 3541165 w 4457616"/>
              <a:gd name="connsiteY6" fmla="*/ 0 h 4464050"/>
              <a:gd name="connsiteX7" fmla="*/ 3541165 w 4457616"/>
              <a:gd name="connsiteY7" fmla="*/ 4464050 h 4464050"/>
              <a:gd name="connsiteX8" fmla="*/ 3539416 w 4457616"/>
              <a:gd name="connsiteY8" fmla="*/ 4464050 h 4464050"/>
              <a:gd name="connsiteX9" fmla="*/ 2909638 w 4457616"/>
              <a:gd name="connsiteY9" fmla="*/ 3893419 h 4464050"/>
              <a:gd name="connsiteX10" fmla="*/ 2909638 w 4457616"/>
              <a:gd name="connsiteY10" fmla="*/ 570628 h 4464050"/>
              <a:gd name="connsiteX11" fmla="*/ 3539413 w 4457616"/>
              <a:gd name="connsiteY11" fmla="*/ 0 h 4464050"/>
              <a:gd name="connsiteX12" fmla="*/ 2791206 w 4457616"/>
              <a:gd name="connsiteY12" fmla="*/ 0 h 4464050"/>
              <a:gd name="connsiteX13" fmla="*/ 2792601 w 4457616"/>
              <a:gd name="connsiteY13" fmla="*/ 0 h 4464050"/>
              <a:gd name="connsiteX14" fmla="*/ 2792601 w 4457616"/>
              <a:gd name="connsiteY14" fmla="*/ 4464050 h 4464050"/>
              <a:gd name="connsiteX15" fmla="*/ 2791209 w 4457616"/>
              <a:gd name="connsiteY15" fmla="*/ 4464050 h 4464050"/>
              <a:gd name="connsiteX16" fmla="*/ 2289796 w 4457616"/>
              <a:gd name="connsiteY16" fmla="*/ 3893419 h 4464050"/>
              <a:gd name="connsiteX17" fmla="*/ 2289796 w 4457616"/>
              <a:gd name="connsiteY17" fmla="*/ 570628 h 4464050"/>
              <a:gd name="connsiteX18" fmla="*/ 2791206 w 4457616"/>
              <a:gd name="connsiteY18" fmla="*/ 0 h 4464050"/>
              <a:gd name="connsiteX19" fmla="*/ 1670151 w 4457616"/>
              <a:gd name="connsiteY19" fmla="*/ 0 h 4464050"/>
              <a:gd name="connsiteX20" fmla="*/ 1671547 w 4457616"/>
              <a:gd name="connsiteY20" fmla="*/ 0 h 4464050"/>
              <a:gd name="connsiteX21" fmla="*/ 2172957 w 4457616"/>
              <a:gd name="connsiteY21" fmla="*/ 570628 h 4464050"/>
              <a:gd name="connsiteX22" fmla="*/ 2172957 w 4457616"/>
              <a:gd name="connsiteY22" fmla="*/ 3893320 h 4464050"/>
              <a:gd name="connsiteX23" fmla="*/ 1671456 w 4457616"/>
              <a:gd name="connsiteY23" fmla="*/ 4464050 h 4464050"/>
              <a:gd name="connsiteX24" fmla="*/ 1670151 w 4457616"/>
              <a:gd name="connsiteY24" fmla="*/ 4464050 h 4464050"/>
              <a:gd name="connsiteX25" fmla="*/ 1670151 w 4457616"/>
              <a:gd name="connsiteY25" fmla="*/ 0 h 4464050"/>
              <a:gd name="connsiteX26" fmla="*/ 921588 w 4457616"/>
              <a:gd name="connsiteY26" fmla="*/ 0 h 4464050"/>
              <a:gd name="connsiteX27" fmla="*/ 923341 w 4457616"/>
              <a:gd name="connsiteY27" fmla="*/ 0 h 4464050"/>
              <a:gd name="connsiteX28" fmla="*/ 1553114 w 4457616"/>
              <a:gd name="connsiteY28" fmla="*/ 570628 h 4464050"/>
              <a:gd name="connsiteX29" fmla="*/ 1553114 w 4457616"/>
              <a:gd name="connsiteY29" fmla="*/ 3893320 h 4464050"/>
              <a:gd name="connsiteX30" fmla="*/ 923227 w 4457616"/>
              <a:gd name="connsiteY30" fmla="*/ 4464050 h 4464050"/>
              <a:gd name="connsiteX31" fmla="*/ 921588 w 4457616"/>
              <a:gd name="connsiteY31" fmla="*/ 4464050 h 4464050"/>
              <a:gd name="connsiteX32" fmla="*/ 921588 w 4457616"/>
              <a:gd name="connsiteY32" fmla="*/ 0 h 4464050"/>
              <a:gd name="connsiteX33" fmla="*/ 0 w 4457616"/>
              <a:gd name="connsiteY33" fmla="*/ 4464050 h 4464050"/>
              <a:gd name="connsiteX34" fmla="*/ 5 w 4457616"/>
              <a:gd name="connsiteY34" fmla="*/ 0 h 4464050"/>
              <a:gd name="connsiteX35" fmla="*/ 804649 w 4457616"/>
              <a:gd name="connsiteY35" fmla="*/ 3893419 h 4464050"/>
              <a:gd name="connsiteX36" fmla="*/ 0 w 4457616"/>
              <a:gd name="connsiteY36" fmla="*/ 4464050 h 4464050"/>
              <a:gd name="connsiteX0" fmla="*/ 4457611 w 4457611"/>
              <a:gd name="connsiteY0" fmla="*/ 3569 h 4464050"/>
              <a:gd name="connsiteX1" fmla="*/ 4457611 w 4457611"/>
              <a:gd name="connsiteY1" fmla="*/ 4460478 h 4464050"/>
              <a:gd name="connsiteX2" fmla="*/ 3657999 w 4457611"/>
              <a:gd name="connsiteY2" fmla="*/ 3893419 h 4464050"/>
              <a:gd name="connsiteX3" fmla="*/ 3657999 w 4457611"/>
              <a:gd name="connsiteY3" fmla="*/ 570628 h 4464050"/>
              <a:gd name="connsiteX4" fmla="*/ 4457611 w 4457611"/>
              <a:gd name="connsiteY4" fmla="*/ 3569 h 4464050"/>
              <a:gd name="connsiteX5" fmla="*/ 3539408 w 4457611"/>
              <a:gd name="connsiteY5" fmla="*/ 0 h 4464050"/>
              <a:gd name="connsiteX6" fmla="*/ 3541160 w 4457611"/>
              <a:gd name="connsiteY6" fmla="*/ 0 h 4464050"/>
              <a:gd name="connsiteX7" fmla="*/ 3541160 w 4457611"/>
              <a:gd name="connsiteY7" fmla="*/ 4464050 h 4464050"/>
              <a:gd name="connsiteX8" fmla="*/ 3539411 w 4457611"/>
              <a:gd name="connsiteY8" fmla="*/ 4464050 h 4464050"/>
              <a:gd name="connsiteX9" fmla="*/ 2909633 w 4457611"/>
              <a:gd name="connsiteY9" fmla="*/ 3893419 h 4464050"/>
              <a:gd name="connsiteX10" fmla="*/ 2909633 w 4457611"/>
              <a:gd name="connsiteY10" fmla="*/ 570628 h 4464050"/>
              <a:gd name="connsiteX11" fmla="*/ 3539408 w 4457611"/>
              <a:gd name="connsiteY11" fmla="*/ 0 h 4464050"/>
              <a:gd name="connsiteX12" fmla="*/ 2791201 w 4457611"/>
              <a:gd name="connsiteY12" fmla="*/ 0 h 4464050"/>
              <a:gd name="connsiteX13" fmla="*/ 2792596 w 4457611"/>
              <a:gd name="connsiteY13" fmla="*/ 0 h 4464050"/>
              <a:gd name="connsiteX14" fmla="*/ 2792596 w 4457611"/>
              <a:gd name="connsiteY14" fmla="*/ 4464050 h 4464050"/>
              <a:gd name="connsiteX15" fmla="*/ 2791204 w 4457611"/>
              <a:gd name="connsiteY15" fmla="*/ 4464050 h 4464050"/>
              <a:gd name="connsiteX16" fmla="*/ 2289791 w 4457611"/>
              <a:gd name="connsiteY16" fmla="*/ 3893419 h 4464050"/>
              <a:gd name="connsiteX17" fmla="*/ 2289791 w 4457611"/>
              <a:gd name="connsiteY17" fmla="*/ 570628 h 4464050"/>
              <a:gd name="connsiteX18" fmla="*/ 2791201 w 4457611"/>
              <a:gd name="connsiteY18" fmla="*/ 0 h 4464050"/>
              <a:gd name="connsiteX19" fmla="*/ 1670146 w 4457611"/>
              <a:gd name="connsiteY19" fmla="*/ 0 h 4464050"/>
              <a:gd name="connsiteX20" fmla="*/ 1671542 w 4457611"/>
              <a:gd name="connsiteY20" fmla="*/ 0 h 4464050"/>
              <a:gd name="connsiteX21" fmla="*/ 2172952 w 4457611"/>
              <a:gd name="connsiteY21" fmla="*/ 570628 h 4464050"/>
              <a:gd name="connsiteX22" fmla="*/ 2172952 w 4457611"/>
              <a:gd name="connsiteY22" fmla="*/ 3893320 h 4464050"/>
              <a:gd name="connsiteX23" fmla="*/ 1671451 w 4457611"/>
              <a:gd name="connsiteY23" fmla="*/ 4464050 h 4464050"/>
              <a:gd name="connsiteX24" fmla="*/ 1670146 w 4457611"/>
              <a:gd name="connsiteY24" fmla="*/ 4464050 h 4464050"/>
              <a:gd name="connsiteX25" fmla="*/ 1670146 w 4457611"/>
              <a:gd name="connsiteY25" fmla="*/ 0 h 4464050"/>
              <a:gd name="connsiteX26" fmla="*/ 921583 w 4457611"/>
              <a:gd name="connsiteY26" fmla="*/ 0 h 4464050"/>
              <a:gd name="connsiteX27" fmla="*/ 923336 w 4457611"/>
              <a:gd name="connsiteY27" fmla="*/ 0 h 4464050"/>
              <a:gd name="connsiteX28" fmla="*/ 1553109 w 4457611"/>
              <a:gd name="connsiteY28" fmla="*/ 570628 h 4464050"/>
              <a:gd name="connsiteX29" fmla="*/ 1553109 w 4457611"/>
              <a:gd name="connsiteY29" fmla="*/ 3893320 h 4464050"/>
              <a:gd name="connsiteX30" fmla="*/ 923222 w 4457611"/>
              <a:gd name="connsiteY30" fmla="*/ 4464050 h 4464050"/>
              <a:gd name="connsiteX31" fmla="*/ 921583 w 4457611"/>
              <a:gd name="connsiteY31" fmla="*/ 4464050 h 4464050"/>
              <a:gd name="connsiteX32" fmla="*/ 921583 w 4457611"/>
              <a:gd name="connsiteY32" fmla="*/ 0 h 4464050"/>
              <a:gd name="connsiteX33" fmla="*/ 804644 w 4457611"/>
              <a:gd name="connsiteY33" fmla="*/ 3893419 h 4464050"/>
              <a:gd name="connsiteX34" fmla="*/ 0 w 4457611"/>
              <a:gd name="connsiteY34" fmla="*/ 0 h 4464050"/>
              <a:gd name="connsiteX35" fmla="*/ 804644 w 4457611"/>
              <a:gd name="connsiteY35" fmla="*/ 3893419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0 h 4464050"/>
              <a:gd name="connsiteX27" fmla="*/ 1753 w 3536028"/>
              <a:gd name="connsiteY27" fmla="*/ 0 h 4464050"/>
              <a:gd name="connsiteX28" fmla="*/ 631526 w 3536028"/>
              <a:gd name="connsiteY28" fmla="*/ 570628 h 4464050"/>
              <a:gd name="connsiteX29" fmla="*/ 631526 w 3536028"/>
              <a:gd name="connsiteY29" fmla="*/ 3893320 h 4464050"/>
              <a:gd name="connsiteX30" fmla="*/ 1639 w 3536028"/>
              <a:gd name="connsiteY30" fmla="*/ 4464050 h 4464050"/>
              <a:gd name="connsiteX31" fmla="*/ 0 w 3536028"/>
              <a:gd name="connsiteY31" fmla="*/ 4464050 h 4464050"/>
              <a:gd name="connsiteX32" fmla="*/ 0 w 3536028"/>
              <a:gd name="connsiteY32" fmla="*/ 0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4464050 h 4464050"/>
              <a:gd name="connsiteX27" fmla="*/ 1753 w 3536028"/>
              <a:gd name="connsiteY27" fmla="*/ 0 h 4464050"/>
              <a:gd name="connsiteX28" fmla="*/ 631526 w 3536028"/>
              <a:gd name="connsiteY28" fmla="*/ 570628 h 4464050"/>
              <a:gd name="connsiteX29" fmla="*/ 631526 w 3536028"/>
              <a:gd name="connsiteY29" fmla="*/ 3893320 h 4464050"/>
              <a:gd name="connsiteX30" fmla="*/ 1639 w 3536028"/>
              <a:gd name="connsiteY30" fmla="*/ 4464050 h 4464050"/>
              <a:gd name="connsiteX31" fmla="*/ 0 w 3536028"/>
              <a:gd name="connsiteY31" fmla="*/ 4464050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4464050 h 4464050"/>
              <a:gd name="connsiteX27" fmla="*/ 1753 w 3536028"/>
              <a:gd name="connsiteY27" fmla="*/ 0 h 4464050"/>
              <a:gd name="connsiteX28" fmla="*/ 631526 w 3536028"/>
              <a:gd name="connsiteY28" fmla="*/ 3893320 h 4464050"/>
              <a:gd name="connsiteX29" fmla="*/ 1639 w 3536028"/>
              <a:gd name="connsiteY29" fmla="*/ 4464050 h 4464050"/>
              <a:gd name="connsiteX30" fmla="*/ 0 w 3536028"/>
              <a:gd name="connsiteY30" fmla="*/ 4464050 h 4464050"/>
              <a:gd name="connsiteX0" fmla="*/ 3563155 w 3563155"/>
              <a:gd name="connsiteY0" fmla="*/ 3569 h 4464050"/>
              <a:gd name="connsiteX1" fmla="*/ 3563155 w 3563155"/>
              <a:gd name="connsiteY1" fmla="*/ 4460478 h 4464050"/>
              <a:gd name="connsiteX2" fmla="*/ 2763543 w 3563155"/>
              <a:gd name="connsiteY2" fmla="*/ 3893419 h 4464050"/>
              <a:gd name="connsiteX3" fmla="*/ 2763543 w 3563155"/>
              <a:gd name="connsiteY3" fmla="*/ 570628 h 4464050"/>
              <a:gd name="connsiteX4" fmla="*/ 3563155 w 3563155"/>
              <a:gd name="connsiteY4" fmla="*/ 3569 h 4464050"/>
              <a:gd name="connsiteX5" fmla="*/ 2644952 w 3563155"/>
              <a:gd name="connsiteY5" fmla="*/ 0 h 4464050"/>
              <a:gd name="connsiteX6" fmla="*/ 2646704 w 3563155"/>
              <a:gd name="connsiteY6" fmla="*/ 0 h 4464050"/>
              <a:gd name="connsiteX7" fmla="*/ 2646704 w 3563155"/>
              <a:gd name="connsiteY7" fmla="*/ 4464050 h 4464050"/>
              <a:gd name="connsiteX8" fmla="*/ 2644955 w 3563155"/>
              <a:gd name="connsiteY8" fmla="*/ 4464050 h 4464050"/>
              <a:gd name="connsiteX9" fmla="*/ 2015177 w 3563155"/>
              <a:gd name="connsiteY9" fmla="*/ 3893419 h 4464050"/>
              <a:gd name="connsiteX10" fmla="*/ 2015177 w 3563155"/>
              <a:gd name="connsiteY10" fmla="*/ 570628 h 4464050"/>
              <a:gd name="connsiteX11" fmla="*/ 2644952 w 3563155"/>
              <a:gd name="connsiteY11" fmla="*/ 0 h 4464050"/>
              <a:gd name="connsiteX12" fmla="*/ 1896745 w 3563155"/>
              <a:gd name="connsiteY12" fmla="*/ 0 h 4464050"/>
              <a:gd name="connsiteX13" fmla="*/ 1898140 w 3563155"/>
              <a:gd name="connsiteY13" fmla="*/ 0 h 4464050"/>
              <a:gd name="connsiteX14" fmla="*/ 1898140 w 3563155"/>
              <a:gd name="connsiteY14" fmla="*/ 4464050 h 4464050"/>
              <a:gd name="connsiteX15" fmla="*/ 1896748 w 3563155"/>
              <a:gd name="connsiteY15" fmla="*/ 4464050 h 4464050"/>
              <a:gd name="connsiteX16" fmla="*/ 1395335 w 3563155"/>
              <a:gd name="connsiteY16" fmla="*/ 3893419 h 4464050"/>
              <a:gd name="connsiteX17" fmla="*/ 1395335 w 3563155"/>
              <a:gd name="connsiteY17" fmla="*/ 570628 h 4464050"/>
              <a:gd name="connsiteX18" fmla="*/ 1896745 w 3563155"/>
              <a:gd name="connsiteY18" fmla="*/ 0 h 4464050"/>
              <a:gd name="connsiteX19" fmla="*/ 775690 w 3563155"/>
              <a:gd name="connsiteY19" fmla="*/ 0 h 4464050"/>
              <a:gd name="connsiteX20" fmla="*/ 777086 w 3563155"/>
              <a:gd name="connsiteY20" fmla="*/ 0 h 4464050"/>
              <a:gd name="connsiteX21" fmla="*/ 1278496 w 3563155"/>
              <a:gd name="connsiteY21" fmla="*/ 570628 h 4464050"/>
              <a:gd name="connsiteX22" fmla="*/ 1278496 w 3563155"/>
              <a:gd name="connsiteY22" fmla="*/ 3893320 h 4464050"/>
              <a:gd name="connsiteX23" fmla="*/ 776995 w 3563155"/>
              <a:gd name="connsiteY23" fmla="*/ 4464050 h 4464050"/>
              <a:gd name="connsiteX24" fmla="*/ 775690 w 3563155"/>
              <a:gd name="connsiteY24" fmla="*/ 4464050 h 4464050"/>
              <a:gd name="connsiteX25" fmla="*/ 775690 w 3563155"/>
              <a:gd name="connsiteY25" fmla="*/ 0 h 4464050"/>
              <a:gd name="connsiteX26" fmla="*/ 27127 w 3563155"/>
              <a:gd name="connsiteY26" fmla="*/ 4464050 h 4464050"/>
              <a:gd name="connsiteX27" fmla="*/ 8 w 3563155"/>
              <a:gd name="connsiteY27" fmla="*/ 28872 h 4464050"/>
              <a:gd name="connsiteX28" fmla="*/ 658653 w 3563155"/>
              <a:gd name="connsiteY28" fmla="*/ 3893320 h 4464050"/>
              <a:gd name="connsiteX29" fmla="*/ 28766 w 3563155"/>
              <a:gd name="connsiteY29" fmla="*/ 4464050 h 4464050"/>
              <a:gd name="connsiteX30" fmla="*/ 27127 w 3563155"/>
              <a:gd name="connsiteY30" fmla="*/ 4464050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4464050 h 4464050"/>
              <a:gd name="connsiteX27" fmla="*/ 631526 w 3536028"/>
              <a:gd name="connsiteY27" fmla="*/ 3893320 h 4464050"/>
              <a:gd name="connsiteX28" fmla="*/ 1639 w 3536028"/>
              <a:gd name="connsiteY28" fmla="*/ 4464050 h 4464050"/>
              <a:gd name="connsiteX29" fmla="*/ 0 w 3536028"/>
              <a:gd name="connsiteY29" fmla="*/ 4464050 h 4464050"/>
              <a:gd name="connsiteX0" fmla="*/ 3534389 w 3534389"/>
              <a:gd name="connsiteY0" fmla="*/ 3569 h 4464050"/>
              <a:gd name="connsiteX1" fmla="*/ 3534389 w 3534389"/>
              <a:gd name="connsiteY1" fmla="*/ 4460478 h 4464050"/>
              <a:gd name="connsiteX2" fmla="*/ 2734777 w 3534389"/>
              <a:gd name="connsiteY2" fmla="*/ 3893419 h 4464050"/>
              <a:gd name="connsiteX3" fmla="*/ 2734777 w 3534389"/>
              <a:gd name="connsiteY3" fmla="*/ 570628 h 4464050"/>
              <a:gd name="connsiteX4" fmla="*/ 3534389 w 3534389"/>
              <a:gd name="connsiteY4" fmla="*/ 3569 h 4464050"/>
              <a:gd name="connsiteX5" fmla="*/ 2616186 w 3534389"/>
              <a:gd name="connsiteY5" fmla="*/ 0 h 4464050"/>
              <a:gd name="connsiteX6" fmla="*/ 2617938 w 3534389"/>
              <a:gd name="connsiteY6" fmla="*/ 0 h 4464050"/>
              <a:gd name="connsiteX7" fmla="*/ 2617938 w 3534389"/>
              <a:gd name="connsiteY7" fmla="*/ 4464050 h 4464050"/>
              <a:gd name="connsiteX8" fmla="*/ 2616189 w 3534389"/>
              <a:gd name="connsiteY8" fmla="*/ 4464050 h 4464050"/>
              <a:gd name="connsiteX9" fmla="*/ 1986411 w 3534389"/>
              <a:gd name="connsiteY9" fmla="*/ 3893419 h 4464050"/>
              <a:gd name="connsiteX10" fmla="*/ 1986411 w 3534389"/>
              <a:gd name="connsiteY10" fmla="*/ 570628 h 4464050"/>
              <a:gd name="connsiteX11" fmla="*/ 2616186 w 3534389"/>
              <a:gd name="connsiteY11" fmla="*/ 0 h 4464050"/>
              <a:gd name="connsiteX12" fmla="*/ 1867979 w 3534389"/>
              <a:gd name="connsiteY12" fmla="*/ 0 h 4464050"/>
              <a:gd name="connsiteX13" fmla="*/ 1869374 w 3534389"/>
              <a:gd name="connsiteY13" fmla="*/ 0 h 4464050"/>
              <a:gd name="connsiteX14" fmla="*/ 1869374 w 3534389"/>
              <a:gd name="connsiteY14" fmla="*/ 4464050 h 4464050"/>
              <a:gd name="connsiteX15" fmla="*/ 1867982 w 3534389"/>
              <a:gd name="connsiteY15" fmla="*/ 4464050 h 4464050"/>
              <a:gd name="connsiteX16" fmla="*/ 1366569 w 3534389"/>
              <a:gd name="connsiteY16" fmla="*/ 3893419 h 4464050"/>
              <a:gd name="connsiteX17" fmla="*/ 1366569 w 3534389"/>
              <a:gd name="connsiteY17" fmla="*/ 570628 h 4464050"/>
              <a:gd name="connsiteX18" fmla="*/ 1867979 w 3534389"/>
              <a:gd name="connsiteY18" fmla="*/ 0 h 4464050"/>
              <a:gd name="connsiteX19" fmla="*/ 746924 w 3534389"/>
              <a:gd name="connsiteY19" fmla="*/ 0 h 4464050"/>
              <a:gd name="connsiteX20" fmla="*/ 748320 w 3534389"/>
              <a:gd name="connsiteY20" fmla="*/ 0 h 4464050"/>
              <a:gd name="connsiteX21" fmla="*/ 1249730 w 3534389"/>
              <a:gd name="connsiteY21" fmla="*/ 570628 h 4464050"/>
              <a:gd name="connsiteX22" fmla="*/ 1249730 w 3534389"/>
              <a:gd name="connsiteY22" fmla="*/ 3893320 h 4464050"/>
              <a:gd name="connsiteX23" fmla="*/ 748229 w 3534389"/>
              <a:gd name="connsiteY23" fmla="*/ 4464050 h 4464050"/>
              <a:gd name="connsiteX24" fmla="*/ 746924 w 3534389"/>
              <a:gd name="connsiteY24" fmla="*/ 4464050 h 4464050"/>
              <a:gd name="connsiteX25" fmla="*/ 746924 w 3534389"/>
              <a:gd name="connsiteY25" fmla="*/ 0 h 4464050"/>
              <a:gd name="connsiteX26" fmla="*/ 0 w 3534389"/>
              <a:gd name="connsiteY26" fmla="*/ 4464050 h 4464050"/>
              <a:gd name="connsiteX27" fmla="*/ 629887 w 3534389"/>
              <a:gd name="connsiteY27" fmla="*/ 3893320 h 4464050"/>
              <a:gd name="connsiteX28" fmla="*/ 0 w 3534389"/>
              <a:gd name="connsiteY28" fmla="*/ 446405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0 h 4464050"/>
              <a:gd name="connsiteX20" fmla="*/ 1396 w 2787465"/>
              <a:gd name="connsiteY20" fmla="*/ 0 h 4464050"/>
              <a:gd name="connsiteX21" fmla="*/ 502806 w 2787465"/>
              <a:gd name="connsiteY21" fmla="*/ 570628 h 4464050"/>
              <a:gd name="connsiteX22" fmla="*/ 502806 w 2787465"/>
              <a:gd name="connsiteY22" fmla="*/ 3893320 h 4464050"/>
              <a:gd name="connsiteX23" fmla="*/ 1305 w 2787465"/>
              <a:gd name="connsiteY23" fmla="*/ 4464050 h 4464050"/>
              <a:gd name="connsiteX24" fmla="*/ 0 w 2787465"/>
              <a:gd name="connsiteY24" fmla="*/ 4464050 h 4464050"/>
              <a:gd name="connsiteX25" fmla="*/ 0 w 2787465"/>
              <a:gd name="connsiteY25" fmla="*/ 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0 h 4464050"/>
              <a:gd name="connsiteX20" fmla="*/ 1396 w 2787465"/>
              <a:gd name="connsiteY20" fmla="*/ 0 h 4464050"/>
              <a:gd name="connsiteX21" fmla="*/ 502806 w 2787465"/>
              <a:gd name="connsiteY21" fmla="*/ 3893320 h 4464050"/>
              <a:gd name="connsiteX22" fmla="*/ 1305 w 2787465"/>
              <a:gd name="connsiteY22" fmla="*/ 4464050 h 4464050"/>
              <a:gd name="connsiteX23" fmla="*/ 0 w 2787465"/>
              <a:gd name="connsiteY23" fmla="*/ 4464050 h 4464050"/>
              <a:gd name="connsiteX24" fmla="*/ 0 w 2787465"/>
              <a:gd name="connsiteY24" fmla="*/ 0 h 4464050"/>
              <a:gd name="connsiteX0" fmla="*/ 2809119 w 2809119"/>
              <a:gd name="connsiteY0" fmla="*/ 3569 h 4464050"/>
              <a:gd name="connsiteX1" fmla="*/ 2809119 w 2809119"/>
              <a:gd name="connsiteY1" fmla="*/ 4460478 h 4464050"/>
              <a:gd name="connsiteX2" fmla="*/ 2009507 w 2809119"/>
              <a:gd name="connsiteY2" fmla="*/ 3893419 h 4464050"/>
              <a:gd name="connsiteX3" fmla="*/ 2009507 w 2809119"/>
              <a:gd name="connsiteY3" fmla="*/ 570628 h 4464050"/>
              <a:gd name="connsiteX4" fmla="*/ 2809119 w 2809119"/>
              <a:gd name="connsiteY4" fmla="*/ 3569 h 4464050"/>
              <a:gd name="connsiteX5" fmla="*/ 1890916 w 2809119"/>
              <a:gd name="connsiteY5" fmla="*/ 0 h 4464050"/>
              <a:gd name="connsiteX6" fmla="*/ 1892668 w 2809119"/>
              <a:gd name="connsiteY6" fmla="*/ 0 h 4464050"/>
              <a:gd name="connsiteX7" fmla="*/ 1892668 w 2809119"/>
              <a:gd name="connsiteY7" fmla="*/ 4464050 h 4464050"/>
              <a:gd name="connsiteX8" fmla="*/ 1890919 w 2809119"/>
              <a:gd name="connsiteY8" fmla="*/ 4464050 h 4464050"/>
              <a:gd name="connsiteX9" fmla="*/ 1261141 w 2809119"/>
              <a:gd name="connsiteY9" fmla="*/ 3893419 h 4464050"/>
              <a:gd name="connsiteX10" fmla="*/ 1261141 w 2809119"/>
              <a:gd name="connsiteY10" fmla="*/ 570628 h 4464050"/>
              <a:gd name="connsiteX11" fmla="*/ 1890916 w 2809119"/>
              <a:gd name="connsiteY11" fmla="*/ 0 h 4464050"/>
              <a:gd name="connsiteX12" fmla="*/ 1142709 w 2809119"/>
              <a:gd name="connsiteY12" fmla="*/ 0 h 4464050"/>
              <a:gd name="connsiteX13" fmla="*/ 1144104 w 2809119"/>
              <a:gd name="connsiteY13" fmla="*/ 0 h 4464050"/>
              <a:gd name="connsiteX14" fmla="*/ 1144104 w 2809119"/>
              <a:gd name="connsiteY14" fmla="*/ 4464050 h 4464050"/>
              <a:gd name="connsiteX15" fmla="*/ 1142712 w 2809119"/>
              <a:gd name="connsiteY15" fmla="*/ 4464050 h 4464050"/>
              <a:gd name="connsiteX16" fmla="*/ 641299 w 2809119"/>
              <a:gd name="connsiteY16" fmla="*/ 3893419 h 4464050"/>
              <a:gd name="connsiteX17" fmla="*/ 641299 w 2809119"/>
              <a:gd name="connsiteY17" fmla="*/ 570628 h 4464050"/>
              <a:gd name="connsiteX18" fmla="*/ 1142709 w 2809119"/>
              <a:gd name="connsiteY18" fmla="*/ 0 h 4464050"/>
              <a:gd name="connsiteX19" fmla="*/ 0 w 2809119"/>
              <a:gd name="connsiteY19" fmla="*/ 7219 h 4464050"/>
              <a:gd name="connsiteX20" fmla="*/ 23050 w 2809119"/>
              <a:gd name="connsiteY20" fmla="*/ 0 h 4464050"/>
              <a:gd name="connsiteX21" fmla="*/ 524460 w 2809119"/>
              <a:gd name="connsiteY21" fmla="*/ 3893320 h 4464050"/>
              <a:gd name="connsiteX22" fmla="*/ 22959 w 2809119"/>
              <a:gd name="connsiteY22" fmla="*/ 4464050 h 4464050"/>
              <a:gd name="connsiteX23" fmla="*/ 21654 w 2809119"/>
              <a:gd name="connsiteY23" fmla="*/ 4464050 h 4464050"/>
              <a:gd name="connsiteX24" fmla="*/ 0 w 2809119"/>
              <a:gd name="connsiteY24" fmla="*/ 7219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4464050 h 4464050"/>
              <a:gd name="connsiteX20" fmla="*/ 1396 w 2787465"/>
              <a:gd name="connsiteY20" fmla="*/ 0 h 4464050"/>
              <a:gd name="connsiteX21" fmla="*/ 502806 w 2787465"/>
              <a:gd name="connsiteY21" fmla="*/ 3893320 h 4464050"/>
              <a:gd name="connsiteX22" fmla="*/ 1305 w 2787465"/>
              <a:gd name="connsiteY22" fmla="*/ 4464050 h 4464050"/>
              <a:gd name="connsiteX23" fmla="*/ 0 w 2787465"/>
              <a:gd name="connsiteY23" fmla="*/ 446405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4464050 h 4464050"/>
              <a:gd name="connsiteX20" fmla="*/ 1396 w 2787465"/>
              <a:gd name="connsiteY20" fmla="*/ 0 h 4464050"/>
              <a:gd name="connsiteX21" fmla="*/ 1305 w 2787465"/>
              <a:gd name="connsiteY21" fmla="*/ 4464050 h 4464050"/>
              <a:gd name="connsiteX22" fmla="*/ 0 w 2787465"/>
              <a:gd name="connsiteY22" fmla="*/ 446405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4464050 h 4464050"/>
              <a:gd name="connsiteX20" fmla="*/ 1305 w 2787465"/>
              <a:gd name="connsiteY20" fmla="*/ 4464050 h 4464050"/>
              <a:gd name="connsiteX21" fmla="*/ 0 w 2787465"/>
              <a:gd name="connsiteY21" fmla="*/ 4464050 h 4464050"/>
              <a:gd name="connsiteX0" fmla="*/ 2167820 w 2167820"/>
              <a:gd name="connsiteY0" fmla="*/ 3569 h 4464050"/>
              <a:gd name="connsiteX1" fmla="*/ 2167820 w 2167820"/>
              <a:gd name="connsiteY1" fmla="*/ 4460478 h 4464050"/>
              <a:gd name="connsiteX2" fmla="*/ 1368208 w 2167820"/>
              <a:gd name="connsiteY2" fmla="*/ 3893419 h 4464050"/>
              <a:gd name="connsiteX3" fmla="*/ 1368208 w 2167820"/>
              <a:gd name="connsiteY3" fmla="*/ 570628 h 4464050"/>
              <a:gd name="connsiteX4" fmla="*/ 2167820 w 2167820"/>
              <a:gd name="connsiteY4" fmla="*/ 3569 h 4464050"/>
              <a:gd name="connsiteX5" fmla="*/ 1249617 w 2167820"/>
              <a:gd name="connsiteY5" fmla="*/ 0 h 4464050"/>
              <a:gd name="connsiteX6" fmla="*/ 1251369 w 2167820"/>
              <a:gd name="connsiteY6" fmla="*/ 0 h 4464050"/>
              <a:gd name="connsiteX7" fmla="*/ 1251369 w 2167820"/>
              <a:gd name="connsiteY7" fmla="*/ 4464050 h 4464050"/>
              <a:gd name="connsiteX8" fmla="*/ 1249620 w 2167820"/>
              <a:gd name="connsiteY8" fmla="*/ 4464050 h 4464050"/>
              <a:gd name="connsiteX9" fmla="*/ 619842 w 2167820"/>
              <a:gd name="connsiteY9" fmla="*/ 3893419 h 4464050"/>
              <a:gd name="connsiteX10" fmla="*/ 619842 w 2167820"/>
              <a:gd name="connsiteY10" fmla="*/ 570628 h 4464050"/>
              <a:gd name="connsiteX11" fmla="*/ 1249617 w 2167820"/>
              <a:gd name="connsiteY11" fmla="*/ 0 h 4464050"/>
              <a:gd name="connsiteX12" fmla="*/ 501410 w 2167820"/>
              <a:gd name="connsiteY12" fmla="*/ 0 h 4464050"/>
              <a:gd name="connsiteX13" fmla="*/ 502805 w 2167820"/>
              <a:gd name="connsiteY13" fmla="*/ 0 h 4464050"/>
              <a:gd name="connsiteX14" fmla="*/ 502805 w 2167820"/>
              <a:gd name="connsiteY14" fmla="*/ 4464050 h 4464050"/>
              <a:gd name="connsiteX15" fmla="*/ 501413 w 2167820"/>
              <a:gd name="connsiteY15" fmla="*/ 4464050 h 4464050"/>
              <a:gd name="connsiteX16" fmla="*/ 0 w 2167820"/>
              <a:gd name="connsiteY16" fmla="*/ 3893419 h 4464050"/>
              <a:gd name="connsiteX17" fmla="*/ 0 w 2167820"/>
              <a:gd name="connsiteY17" fmla="*/ 570628 h 4464050"/>
              <a:gd name="connsiteX18" fmla="*/ 501410 w 2167820"/>
              <a:gd name="connsiteY18" fmla="*/ 0 h 446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167820" h="4464050">
                <a:moveTo>
                  <a:pt x="2167820" y="3569"/>
                </a:moveTo>
                <a:lnTo>
                  <a:pt x="2167820" y="4460478"/>
                </a:lnTo>
                <a:lnTo>
                  <a:pt x="1368208" y="3893419"/>
                </a:lnTo>
                <a:lnTo>
                  <a:pt x="1368208" y="570628"/>
                </a:lnTo>
                <a:lnTo>
                  <a:pt x="2167820" y="3569"/>
                </a:lnTo>
                <a:close/>
                <a:moveTo>
                  <a:pt x="1249617" y="0"/>
                </a:moveTo>
                <a:lnTo>
                  <a:pt x="1251369" y="0"/>
                </a:lnTo>
                <a:lnTo>
                  <a:pt x="1251369" y="4464050"/>
                </a:lnTo>
                <a:lnTo>
                  <a:pt x="1249620" y="4464050"/>
                </a:lnTo>
                <a:lnTo>
                  <a:pt x="619842" y="3893419"/>
                </a:lnTo>
                <a:lnTo>
                  <a:pt x="619842" y="570628"/>
                </a:lnTo>
                <a:lnTo>
                  <a:pt x="1249617" y="0"/>
                </a:lnTo>
                <a:close/>
                <a:moveTo>
                  <a:pt x="501410" y="0"/>
                </a:moveTo>
                <a:lnTo>
                  <a:pt x="502805" y="0"/>
                </a:lnTo>
                <a:lnTo>
                  <a:pt x="502805" y="4464050"/>
                </a:lnTo>
                <a:lnTo>
                  <a:pt x="501413" y="4464050"/>
                </a:lnTo>
                <a:lnTo>
                  <a:pt x="0" y="3893419"/>
                </a:lnTo>
                <a:lnTo>
                  <a:pt x="0" y="570628"/>
                </a:lnTo>
                <a:lnTo>
                  <a:pt x="501410" y="0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insert picture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60417610-3925-C985-77B4-41C4C49D7FD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81765" y="428625"/>
            <a:ext cx="1912188" cy="3924299"/>
          </a:xfrm>
          <a:custGeom>
            <a:avLst/>
            <a:gdLst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3541647 w 4459850"/>
              <a:gd name="connsiteY4" fmla="*/ 0 h 4464050"/>
              <a:gd name="connsiteX5" fmla="*/ 3543399 w 4459850"/>
              <a:gd name="connsiteY5" fmla="*/ 0 h 4464050"/>
              <a:gd name="connsiteX6" fmla="*/ 3543399 w 4459850"/>
              <a:gd name="connsiteY6" fmla="*/ 4464050 h 4464050"/>
              <a:gd name="connsiteX7" fmla="*/ 3541650 w 4459850"/>
              <a:gd name="connsiteY7" fmla="*/ 4464050 h 4464050"/>
              <a:gd name="connsiteX8" fmla="*/ 2911872 w 4459850"/>
              <a:gd name="connsiteY8" fmla="*/ 3893419 h 4464050"/>
              <a:gd name="connsiteX9" fmla="*/ 2911872 w 4459850"/>
              <a:gd name="connsiteY9" fmla="*/ 570628 h 4464050"/>
              <a:gd name="connsiteX10" fmla="*/ 2793440 w 4459850"/>
              <a:gd name="connsiteY10" fmla="*/ 0 h 4464050"/>
              <a:gd name="connsiteX11" fmla="*/ 2794835 w 4459850"/>
              <a:gd name="connsiteY11" fmla="*/ 0 h 4464050"/>
              <a:gd name="connsiteX12" fmla="*/ 2794835 w 4459850"/>
              <a:gd name="connsiteY12" fmla="*/ 4464050 h 4464050"/>
              <a:gd name="connsiteX13" fmla="*/ 2793443 w 4459850"/>
              <a:gd name="connsiteY13" fmla="*/ 4464050 h 4464050"/>
              <a:gd name="connsiteX14" fmla="*/ 2292030 w 4459850"/>
              <a:gd name="connsiteY14" fmla="*/ 3893419 h 4464050"/>
              <a:gd name="connsiteX15" fmla="*/ 2292030 w 4459850"/>
              <a:gd name="connsiteY15" fmla="*/ 570628 h 4464050"/>
              <a:gd name="connsiteX16" fmla="*/ 1672385 w 4459850"/>
              <a:gd name="connsiteY16" fmla="*/ 0 h 4464050"/>
              <a:gd name="connsiteX17" fmla="*/ 1673781 w 4459850"/>
              <a:gd name="connsiteY17" fmla="*/ 0 h 4464050"/>
              <a:gd name="connsiteX18" fmla="*/ 2175191 w 4459850"/>
              <a:gd name="connsiteY18" fmla="*/ 570628 h 4464050"/>
              <a:gd name="connsiteX19" fmla="*/ 2175191 w 4459850"/>
              <a:gd name="connsiteY19" fmla="*/ 3893320 h 4464050"/>
              <a:gd name="connsiteX20" fmla="*/ 1673690 w 4459850"/>
              <a:gd name="connsiteY20" fmla="*/ 4464050 h 4464050"/>
              <a:gd name="connsiteX21" fmla="*/ 1672385 w 4459850"/>
              <a:gd name="connsiteY21" fmla="*/ 4464050 h 4464050"/>
              <a:gd name="connsiteX22" fmla="*/ 923822 w 4459850"/>
              <a:gd name="connsiteY22" fmla="*/ 0 h 4464050"/>
              <a:gd name="connsiteX23" fmla="*/ 925575 w 4459850"/>
              <a:gd name="connsiteY23" fmla="*/ 0 h 4464050"/>
              <a:gd name="connsiteX24" fmla="*/ 1555348 w 4459850"/>
              <a:gd name="connsiteY24" fmla="*/ 570628 h 4464050"/>
              <a:gd name="connsiteX25" fmla="*/ 1555348 w 4459850"/>
              <a:gd name="connsiteY25" fmla="*/ 3893320 h 4464050"/>
              <a:gd name="connsiteX26" fmla="*/ 925461 w 4459850"/>
              <a:gd name="connsiteY26" fmla="*/ 4464050 h 4464050"/>
              <a:gd name="connsiteX27" fmla="*/ 923822 w 4459850"/>
              <a:gd name="connsiteY27" fmla="*/ 4464050 h 4464050"/>
              <a:gd name="connsiteX28" fmla="*/ 0 w 4459850"/>
              <a:gd name="connsiteY28" fmla="*/ 0 h 4464050"/>
              <a:gd name="connsiteX29" fmla="*/ 2239 w 4459850"/>
              <a:gd name="connsiteY29" fmla="*/ 0 h 4464050"/>
              <a:gd name="connsiteX30" fmla="*/ 806883 w 4459850"/>
              <a:gd name="connsiteY30" fmla="*/ 570628 h 4464050"/>
              <a:gd name="connsiteX31" fmla="*/ 806883 w 4459850"/>
              <a:gd name="connsiteY31" fmla="*/ 3893419 h 4464050"/>
              <a:gd name="connsiteX32" fmla="*/ 2234 w 4459850"/>
              <a:gd name="connsiteY32" fmla="*/ 4464050 h 4464050"/>
              <a:gd name="connsiteX33" fmla="*/ 0 w 4459850"/>
              <a:gd name="connsiteY33" fmla="*/ 446405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292030 w 4459850"/>
              <a:gd name="connsiteY12" fmla="*/ 570628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2292030 w 4459850"/>
              <a:gd name="connsiteY17" fmla="*/ 570628 h 4464050"/>
              <a:gd name="connsiteX18" fmla="*/ 1672385 w 4459850"/>
              <a:gd name="connsiteY18" fmla="*/ 0 h 4464050"/>
              <a:gd name="connsiteX19" fmla="*/ 1673781 w 4459850"/>
              <a:gd name="connsiteY19" fmla="*/ 0 h 4464050"/>
              <a:gd name="connsiteX20" fmla="*/ 2175191 w 4459850"/>
              <a:gd name="connsiteY20" fmla="*/ 570628 h 4464050"/>
              <a:gd name="connsiteX21" fmla="*/ 2175191 w 4459850"/>
              <a:gd name="connsiteY21" fmla="*/ 3893320 h 4464050"/>
              <a:gd name="connsiteX22" fmla="*/ 1673690 w 4459850"/>
              <a:gd name="connsiteY22" fmla="*/ 4464050 h 4464050"/>
              <a:gd name="connsiteX23" fmla="*/ 1672385 w 4459850"/>
              <a:gd name="connsiteY23" fmla="*/ 4464050 h 4464050"/>
              <a:gd name="connsiteX24" fmla="*/ 1672385 w 4459850"/>
              <a:gd name="connsiteY24" fmla="*/ 0 h 4464050"/>
              <a:gd name="connsiteX25" fmla="*/ 923822 w 4459850"/>
              <a:gd name="connsiteY25" fmla="*/ 0 h 4464050"/>
              <a:gd name="connsiteX26" fmla="*/ 925575 w 4459850"/>
              <a:gd name="connsiteY26" fmla="*/ 0 h 4464050"/>
              <a:gd name="connsiteX27" fmla="*/ 1555348 w 4459850"/>
              <a:gd name="connsiteY27" fmla="*/ 570628 h 4464050"/>
              <a:gd name="connsiteX28" fmla="*/ 1555348 w 4459850"/>
              <a:gd name="connsiteY28" fmla="*/ 3893320 h 4464050"/>
              <a:gd name="connsiteX29" fmla="*/ 925461 w 4459850"/>
              <a:gd name="connsiteY29" fmla="*/ 4464050 h 4464050"/>
              <a:gd name="connsiteX30" fmla="*/ 923822 w 4459850"/>
              <a:gd name="connsiteY30" fmla="*/ 4464050 h 4464050"/>
              <a:gd name="connsiteX31" fmla="*/ 923822 w 4459850"/>
              <a:gd name="connsiteY31" fmla="*/ 0 h 4464050"/>
              <a:gd name="connsiteX32" fmla="*/ 0 w 4459850"/>
              <a:gd name="connsiteY32" fmla="*/ 0 h 4464050"/>
              <a:gd name="connsiteX33" fmla="*/ 2239 w 4459850"/>
              <a:gd name="connsiteY33" fmla="*/ 0 h 4464050"/>
              <a:gd name="connsiteX34" fmla="*/ 806883 w 4459850"/>
              <a:gd name="connsiteY34" fmla="*/ 570628 h 4464050"/>
              <a:gd name="connsiteX35" fmla="*/ 806883 w 4459850"/>
              <a:gd name="connsiteY35" fmla="*/ 3893419 h 4464050"/>
              <a:gd name="connsiteX36" fmla="*/ 2234 w 4459850"/>
              <a:gd name="connsiteY36" fmla="*/ 4464050 h 4464050"/>
              <a:gd name="connsiteX37" fmla="*/ 0 w 4459850"/>
              <a:gd name="connsiteY37" fmla="*/ 4464050 h 4464050"/>
              <a:gd name="connsiteX38" fmla="*/ 0 w 4459850"/>
              <a:gd name="connsiteY38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292030 w 4459850"/>
              <a:gd name="connsiteY12" fmla="*/ 3893419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1672385 w 4459850"/>
              <a:gd name="connsiteY17" fmla="*/ 0 h 4464050"/>
              <a:gd name="connsiteX18" fmla="*/ 1673781 w 4459850"/>
              <a:gd name="connsiteY18" fmla="*/ 0 h 4464050"/>
              <a:gd name="connsiteX19" fmla="*/ 2175191 w 4459850"/>
              <a:gd name="connsiteY19" fmla="*/ 570628 h 4464050"/>
              <a:gd name="connsiteX20" fmla="*/ 2175191 w 4459850"/>
              <a:gd name="connsiteY20" fmla="*/ 3893320 h 4464050"/>
              <a:gd name="connsiteX21" fmla="*/ 1673690 w 4459850"/>
              <a:gd name="connsiteY21" fmla="*/ 4464050 h 4464050"/>
              <a:gd name="connsiteX22" fmla="*/ 1672385 w 4459850"/>
              <a:gd name="connsiteY22" fmla="*/ 4464050 h 4464050"/>
              <a:gd name="connsiteX23" fmla="*/ 1672385 w 4459850"/>
              <a:gd name="connsiteY23" fmla="*/ 0 h 4464050"/>
              <a:gd name="connsiteX24" fmla="*/ 923822 w 4459850"/>
              <a:gd name="connsiteY24" fmla="*/ 0 h 4464050"/>
              <a:gd name="connsiteX25" fmla="*/ 925575 w 4459850"/>
              <a:gd name="connsiteY25" fmla="*/ 0 h 4464050"/>
              <a:gd name="connsiteX26" fmla="*/ 1555348 w 4459850"/>
              <a:gd name="connsiteY26" fmla="*/ 570628 h 4464050"/>
              <a:gd name="connsiteX27" fmla="*/ 1555348 w 4459850"/>
              <a:gd name="connsiteY27" fmla="*/ 3893320 h 4464050"/>
              <a:gd name="connsiteX28" fmla="*/ 925461 w 4459850"/>
              <a:gd name="connsiteY28" fmla="*/ 4464050 h 4464050"/>
              <a:gd name="connsiteX29" fmla="*/ 923822 w 4459850"/>
              <a:gd name="connsiteY29" fmla="*/ 4464050 h 4464050"/>
              <a:gd name="connsiteX30" fmla="*/ 923822 w 4459850"/>
              <a:gd name="connsiteY30" fmla="*/ 0 h 4464050"/>
              <a:gd name="connsiteX31" fmla="*/ 0 w 4459850"/>
              <a:gd name="connsiteY31" fmla="*/ 0 h 4464050"/>
              <a:gd name="connsiteX32" fmla="*/ 2239 w 4459850"/>
              <a:gd name="connsiteY32" fmla="*/ 0 h 4464050"/>
              <a:gd name="connsiteX33" fmla="*/ 806883 w 4459850"/>
              <a:gd name="connsiteY33" fmla="*/ 570628 h 4464050"/>
              <a:gd name="connsiteX34" fmla="*/ 806883 w 4459850"/>
              <a:gd name="connsiteY34" fmla="*/ 3893419 h 4464050"/>
              <a:gd name="connsiteX35" fmla="*/ 2234 w 4459850"/>
              <a:gd name="connsiteY35" fmla="*/ 4464050 h 4464050"/>
              <a:gd name="connsiteX36" fmla="*/ 0 w 4459850"/>
              <a:gd name="connsiteY36" fmla="*/ 4464050 h 4464050"/>
              <a:gd name="connsiteX37" fmla="*/ 0 w 4459850"/>
              <a:gd name="connsiteY37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292030 w 4459850"/>
              <a:gd name="connsiteY12" fmla="*/ 3893419 h 4464050"/>
              <a:gd name="connsiteX13" fmla="*/ 2794835 w 4459850"/>
              <a:gd name="connsiteY13" fmla="*/ 4464050 h 4464050"/>
              <a:gd name="connsiteX14" fmla="*/ 2793443 w 4459850"/>
              <a:gd name="connsiteY14" fmla="*/ 4464050 h 4464050"/>
              <a:gd name="connsiteX15" fmla="*/ 2292030 w 4459850"/>
              <a:gd name="connsiteY15" fmla="*/ 3893419 h 4464050"/>
              <a:gd name="connsiteX16" fmla="*/ 1672385 w 4459850"/>
              <a:gd name="connsiteY16" fmla="*/ 0 h 4464050"/>
              <a:gd name="connsiteX17" fmla="*/ 1673781 w 4459850"/>
              <a:gd name="connsiteY17" fmla="*/ 0 h 4464050"/>
              <a:gd name="connsiteX18" fmla="*/ 2175191 w 4459850"/>
              <a:gd name="connsiteY18" fmla="*/ 570628 h 4464050"/>
              <a:gd name="connsiteX19" fmla="*/ 2175191 w 4459850"/>
              <a:gd name="connsiteY19" fmla="*/ 3893320 h 4464050"/>
              <a:gd name="connsiteX20" fmla="*/ 1673690 w 4459850"/>
              <a:gd name="connsiteY20" fmla="*/ 4464050 h 4464050"/>
              <a:gd name="connsiteX21" fmla="*/ 1672385 w 4459850"/>
              <a:gd name="connsiteY21" fmla="*/ 4464050 h 4464050"/>
              <a:gd name="connsiteX22" fmla="*/ 1672385 w 4459850"/>
              <a:gd name="connsiteY22" fmla="*/ 0 h 4464050"/>
              <a:gd name="connsiteX23" fmla="*/ 923822 w 4459850"/>
              <a:gd name="connsiteY23" fmla="*/ 0 h 4464050"/>
              <a:gd name="connsiteX24" fmla="*/ 925575 w 4459850"/>
              <a:gd name="connsiteY24" fmla="*/ 0 h 4464050"/>
              <a:gd name="connsiteX25" fmla="*/ 1555348 w 4459850"/>
              <a:gd name="connsiteY25" fmla="*/ 570628 h 4464050"/>
              <a:gd name="connsiteX26" fmla="*/ 1555348 w 4459850"/>
              <a:gd name="connsiteY26" fmla="*/ 3893320 h 4464050"/>
              <a:gd name="connsiteX27" fmla="*/ 925461 w 4459850"/>
              <a:gd name="connsiteY27" fmla="*/ 4464050 h 4464050"/>
              <a:gd name="connsiteX28" fmla="*/ 923822 w 4459850"/>
              <a:gd name="connsiteY28" fmla="*/ 4464050 h 4464050"/>
              <a:gd name="connsiteX29" fmla="*/ 923822 w 4459850"/>
              <a:gd name="connsiteY29" fmla="*/ 0 h 4464050"/>
              <a:gd name="connsiteX30" fmla="*/ 0 w 4459850"/>
              <a:gd name="connsiteY30" fmla="*/ 0 h 4464050"/>
              <a:gd name="connsiteX31" fmla="*/ 2239 w 4459850"/>
              <a:gd name="connsiteY31" fmla="*/ 0 h 4464050"/>
              <a:gd name="connsiteX32" fmla="*/ 806883 w 4459850"/>
              <a:gd name="connsiteY32" fmla="*/ 570628 h 4464050"/>
              <a:gd name="connsiteX33" fmla="*/ 806883 w 4459850"/>
              <a:gd name="connsiteY33" fmla="*/ 3893419 h 4464050"/>
              <a:gd name="connsiteX34" fmla="*/ 2234 w 4459850"/>
              <a:gd name="connsiteY34" fmla="*/ 4464050 h 4464050"/>
              <a:gd name="connsiteX35" fmla="*/ 0 w 4459850"/>
              <a:gd name="connsiteY35" fmla="*/ 4464050 h 4464050"/>
              <a:gd name="connsiteX36" fmla="*/ 0 w 4459850"/>
              <a:gd name="connsiteY36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793443 w 4459850"/>
              <a:gd name="connsiteY12" fmla="*/ 4464050 h 4464050"/>
              <a:gd name="connsiteX13" fmla="*/ 2794835 w 4459850"/>
              <a:gd name="connsiteY13" fmla="*/ 4464050 h 4464050"/>
              <a:gd name="connsiteX14" fmla="*/ 2793443 w 4459850"/>
              <a:gd name="connsiteY14" fmla="*/ 4464050 h 4464050"/>
              <a:gd name="connsiteX15" fmla="*/ 1672385 w 4459850"/>
              <a:gd name="connsiteY15" fmla="*/ 0 h 4464050"/>
              <a:gd name="connsiteX16" fmla="*/ 1673781 w 4459850"/>
              <a:gd name="connsiteY16" fmla="*/ 0 h 4464050"/>
              <a:gd name="connsiteX17" fmla="*/ 2175191 w 4459850"/>
              <a:gd name="connsiteY17" fmla="*/ 570628 h 4464050"/>
              <a:gd name="connsiteX18" fmla="*/ 2175191 w 4459850"/>
              <a:gd name="connsiteY18" fmla="*/ 3893320 h 4464050"/>
              <a:gd name="connsiteX19" fmla="*/ 1673690 w 4459850"/>
              <a:gd name="connsiteY19" fmla="*/ 4464050 h 4464050"/>
              <a:gd name="connsiteX20" fmla="*/ 1672385 w 4459850"/>
              <a:gd name="connsiteY20" fmla="*/ 4464050 h 4464050"/>
              <a:gd name="connsiteX21" fmla="*/ 1672385 w 4459850"/>
              <a:gd name="connsiteY21" fmla="*/ 0 h 4464050"/>
              <a:gd name="connsiteX22" fmla="*/ 923822 w 4459850"/>
              <a:gd name="connsiteY22" fmla="*/ 0 h 4464050"/>
              <a:gd name="connsiteX23" fmla="*/ 925575 w 4459850"/>
              <a:gd name="connsiteY23" fmla="*/ 0 h 4464050"/>
              <a:gd name="connsiteX24" fmla="*/ 1555348 w 4459850"/>
              <a:gd name="connsiteY24" fmla="*/ 570628 h 4464050"/>
              <a:gd name="connsiteX25" fmla="*/ 1555348 w 4459850"/>
              <a:gd name="connsiteY25" fmla="*/ 3893320 h 4464050"/>
              <a:gd name="connsiteX26" fmla="*/ 925461 w 4459850"/>
              <a:gd name="connsiteY26" fmla="*/ 4464050 h 4464050"/>
              <a:gd name="connsiteX27" fmla="*/ 923822 w 4459850"/>
              <a:gd name="connsiteY27" fmla="*/ 4464050 h 4464050"/>
              <a:gd name="connsiteX28" fmla="*/ 923822 w 4459850"/>
              <a:gd name="connsiteY28" fmla="*/ 0 h 4464050"/>
              <a:gd name="connsiteX29" fmla="*/ 0 w 4459850"/>
              <a:gd name="connsiteY29" fmla="*/ 0 h 4464050"/>
              <a:gd name="connsiteX30" fmla="*/ 2239 w 4459850"/>
              <a:gd name="connsiteY30" fmla="*/ 0 h 4464050"/>
              <a:gd name="connsiteX31" fmla="*/ 806883 w 4459850"/>
              <a:gd name="connsiteY31" fmla="*/ 570628 h 4464050"/>
              <a:gd name="connsiteX32" fmla="*/ 806883 w 4459850"/>
              <a:gd name="connsiteY32" fmla="*/ 3893419 h 4464050"/>
              <a:gd name="connsiteX33" fmla="*/ 2234 w 4459850"/>
              <a:gd name="connsiteY33" fmla="*/ 4464050 h 4464050"/>
              <a:gd name="connsiteX34" fmla="*/ 0 w 4459850"/>
              <a:gd name="connsiteY34" fmla="*/ 4464050 h 4464050"/>
              <a:gd name="connsiteX35" fmla="*/ 0 w 4459850"/>
              <a:gd name="connsiteY35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1672385 w 4459850"/>
              <a:gd name="connsiteY12" fmla="*/ 0 h 4464050"/>
              <a:gd name="connsiteX13" fmla="*/ 1673781 w 4459850"/>
              <a:gd name="connsiteY13" fmla="*/ 0 h 4464050"/>
              <a:gd name="connsiteX14" fmla="*/ 2175191 w 4459850"/>
              <a:gd name="connsiteY14" fmla="*/ 570628 h 4464050"/>
              <a:gd name="connsiteX15" fmla="*/ 2175191 w 4459850"/>
              <a:gd name="connsiteY15" fmla="*/ 3893320 h 4464050"/>
              <a:gd name="connsiteX16" fmla="*/ 1673690 w 4459850"/>
              <a:gd name="connsiteY16" fmla="*/ 4464050 h 4464050"/>
              <a:gd name="connsiteX17" fmla="*/ 1672385 w 4459850"/>
              <a:gd name="connsiteY17" fmla="*/ 4464050 h 4464050"/>
              <a:gd name="connsiteX18" fmla="*/ 1672385 w 4459850"/>
              <a:gd name="connsiteY18" fmla="*/ 0 h 4464050"/>
              <a:gd name="connsiteX19" fmla="*/ 923822 w 4459850"/>
              <a:gd name="connsiteY19" fmla="*/ 0 h 4464050"/>
              <a:gd name="connsiteX20" fmla="*/ 925575 w 4459850"/>
              <a:gd name="connsiteY20" fmla="*/ 0 h 4464050"/>
              <a:gd name="connsiteX21" fmla="*/ 1555348 w 4459850"/>
              <a:gd name="connsiteY21" fmla="*/ 570628 h 4464050"/>
              <a:gd name="connsiteX22" fmla="*/ 1555348 w 4459850"/>
              <a:gd name="connsiteY22" fmla="*/ 3893320 h 4464050"/>
              <a:gd name="connsiteX23" fmla="*/ 925461 w 4459850"/>
              <a:gd name="connsiteY23" fmla="*/ 4464050 h 4464050"/>
              <a:gd name="connsiteX24" fmla="*/ 923822 w 4459850"/>
              <a:gd name="connsiteY24" fmla="*/ 4464050 h 4464050"/>
              <a:gd name="connsiteX25" fmla="*/ 923822 w 4459850"/>
              <a:gd name="connsiteY25" fmla="*/ 0 h 4464050"/>
              <a:gd name="connsiteX26" fmla="*/ 0 w 4459850"/>
              <a:gd name="connsiteY26" fmla="*/ 0 h 4464050"/>
              <a:gd name="connsiteX27" fmla="*/ 2239 w 4459850"/>
              <a:gd name="connsiteY27" fmla="*/ 0 h 4464050"/>
              <a:gd name="connsiteX28" fmla="*/ 806883 w 4459850"/>
              <a:gd name="connsiteY28" fmla="*/ 570628 h 4464050"/>
              <a:gd name="connsiteX29" fmla="*/ 806883 w 4459850"/>
              <a:gd name="connsiteY29" fmla="*/ 3893419 h 4464050"/>
              <a:gd name="connsiteX30" fmla="*/ 2234 w 4459850"/>
              <a:gd name="connsiteY30" fmla="*/ 4464050 h 4464050"/>
              <a:gd name="connsiteX31" fmla="*/ 0 w 4459850"/>
              <a:gd name="connsiteY31" fmla="*/ 4464050 h 4464050"/>
              <a:gd name="connsiteX32" fmla="*/ 0 w 4459850"/>
              <a:gd name="connsiteY32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3893419 h 4464050"/>
              <a:gd name="connsiteX9" fmla="*/ 2911872 w 4459850"/>
              <a:gd name="connsiteY9" fmla="*/ 570628 h 4464050"/>
              <a:gd name="connsiteX10" fmla="*/ 3541647 w 4459850"/>
              <a:gd name="connsiteY10" fmla="*/ 0 h 4464050"/>
              <a:gd name="connsiteX11" fmla="*/ 1672385 w 4459850"/>
              <a:gd name="connsiteY11" fmla="*/ 0 h 4464050"/>
              <a:gd name="connsiteX12" fmla="*/ 1673781 w 4459850"/>
              <a:gd name="connsiteY12" fmla="*/ 0 h 4464050"/>
              <a:gd name="connsiteX13" fmla="*/ 2175191 w 4459850"/>
              <a:gd name="connsiteY13" fmla="*/ 570628 h 4464050"/>
              <a:gd name="connsiteX14" fmla="*/ 2175191 w 4459850"/>
              <a:gd name="connsiteY14" fmla="*/ 3893320 h 4464050"/>
              <a:gd name="connsiteX15" fmla="*/ 1673690 w 4459850"/>
              <a:gd name="connsiteY15" fmla="*/ 4464050 h 4464050"/>
              <a:gd name="connsiteX16" fmla="*/ 1672385 w 4459850"/>
              <a:gd name="connsiteY16" fmla="*/ 4464050 h 4464050"/>
              <a:gd name="connsiteX17" fmla="*/ 1672385 w 4459850"/>
              <a:gd name="connsiteY17" fmla="*/ 0 h 4464050"/>
              <a:gd name="connsiteX18" fmla="*/ 923822 w 4459850"/>
              <a:gd name="connsiteY18" fmla="*/ 0 h 4464050"/>
              <a:gd name="connsiteX19" fmla="*/ 925575 w 4459850"/>
              <a:gd name="connsiteY19" fmla="*/ 0 h 4464050"/>
              <a:gd name="connsiteX20" fmla="*/ 1555348 w 4459850"/>
              <a:gd name="connsiteY20" fmla="*/ 570628 h 4464050"/>
              <a:gd name="connsiteX21" fmla="*/ 1555348 w 4459850"/>
              <a:gd name="connsiteY21" fmla="*/ 3893320 h 4464050"/>
              <a:gd name="connsiteX22" fmla="*/ 925461 w 4459850"/>
              <a:gd name="connsiteY22" fmla="*/ 4464050 h 4464050"/>
              <a:gd name="connsiteX23" fmla="*/ 923822 w 4459850"/>
              <a:gd name="connsiteY23" fmla="*/ 4464050 h 4464050"/>
              <a:gd name="connsiteX24" fmla="*/ 923822 w 4459850"/>
              <a:gd name="connsiteY24" fmla="*/ 0 h 4464050"/>
              <a:gd name="connsiteX25" fmla="*/ 0 w 4459850"/>
              <a:gd name="connsiteY25" fmla="*/ 0 h 4464050"/>
              <a:gd name="connsiteX26" fmla="*/ 2239 w 4459850"/>
              <a:gd name="connsiteY26" fmla="*/ 0 h 4464050"/>
              <a:gd name="connsiteX27" fmla="*/ 806883 w 4459850"/>
              <a:gd name="connsiteY27" fmla="*/ 570628 h 4464050"/>
              <a:gd name="connsiteX28" fmla="*/ 806883 w 4459850"/>
              <a:gd name="connsiteY28" fmla="*/ 3893419 h 4464050"/>
              <a:gd name="connsiteX29" fmla="*/ 2234 w 4459850"/>
              <a:gd name="connsiteY29" fmla="*/ 4464050 h 4464050"/>
              <a:gd name="connsiteX30" fmla="*/ 0 w 4459850"/>
              <a:gd name="connsiteY30" fmla="*/ 4464050 h 4464050"/>
              <a:gd name="connsiteX31" fmla="*/ 0 w 4459850"/>
              <a:gd name="connsiteY31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570628 h 4464050"/>
              <a:gd name="connsiteX9" fmla="*/ 3541647 w 4459850"/>
              <a:gd name="connsiteY9" fmla="*/ 0 h 4464050"/>
              <a:gd name="connsiteX10" fmla="*/ 1672385 w 4459850"/>
              <a:gd name="connsiteY10" fmla="*/ 0 h 4464050"/>
              <a:gd name="connsiteX11" fmla="*/ 1673781 w 4459850"/>
              <a:gd name="connsiteY11" fmla="*/ 0 h 4464050"/>
              <a:gd name="connsiteX12" fmla="*/ 2175191 w 4459850"/>
              <a:gd name="connsiteY12" fmla="*/ 570628 h 4464050"/>
              <a:gd name="connsiteX13" fmla="*/ 2175191 w 4459850"/>
              <a:gd name="connsiteY13" fmla="*/ 3893320 h 4464050"/>
              <a:gd name="connsiteX14" fmla="*/ 1673690 w 4459850"/>
              <a:gd name="connsiteY14" fmla="*/ 4464050 h 4464050"/>
              <a:gd name="connsiteX15" fmla="*/ 1672385 w 4459850"/>
              <a:gd name="connsiteY15" fmla="*/ 4464050 h 4464050"/>
              <a:gd name="connsiteX16" fmla="*/ 1672385 w 4459850"/>
              <a:gd name="connsiteY16" fmla="*/ 0 h 4464050"/>
              <a:gd name="connsiteX17" fmla="*/ 923822 w 4459850"/>
              <a:gd name="connsiteY17" fmla="*/ 0 h 4464050"/>
              <a:gd name="connsiteX18" fmla="*/ 925575 w 4459850"/>
              <a:gd name="connsiteY18" fmla="*/ 0 h 4464050"/>
              <a:gd name="connsiteX19" fmla="*/ 1555348 w 4459850"/>
              <a:gd name="connsiteY19" fmla="*/ 570628 h 4464050"/>
              <a:gd name="connsiteX20" fmla="*/ 1555348 w 4459850"/>
              <a:gd name="connsiteY20" fmla="*/ 3893320 h 4464050"/>
              <a:gd name="connsiteX21" fmla="*/ 925461 w 4459850"/>
              <a:gd name="connsiteY21" fmla="*/ 4464050 h 4464050"/>
              <a:gd name="connsiteX22" fmla="*/ 923822 w 4459850"/>
              <a:gd name="connsiteY22" fmla="*/ 4464050 h 4464050"/>
              <a:gd name="connsiteX23" fmla="*/ 923822 w 4459850"/>
              <a:gd name="connsiteY23" fmla="*/ 0 h 4464050"/>
              <a:gd name="connsiteX24" fmla="*/ 0 w 4459850"/>
              <a:gd name="connsiteY24" fmla="*/ 0 h 4464050"/>
              <a:gd name="connsiteX25" fmla="*/ 2239 w 4459850"/>
              <a:gd name="connsiteY25" fmla="*/ 0 h 4464050"/>
              <a:gd name="connsiteX26" fmla="*/ 806883 w 4459850"/>
              <a:gd name="connsiteY26" fmla="*/ 570628 h 4464050"/>
              <a:gd name="connsiteX27" fmla="*/ 806883 w 4459850"/>
              <a:gd name="connsiteY27" fmla="*/ 3893419 h 4464050"/>
              <a:gd name="connsiteX28" fmla="*/ 2234 w 4459850"/>
              <a:gd name="connsiteY28" fmla="*/ 4464050 h 4464050"/>
              <a:gd name="connsiteX29" fmla="*/ 0 w 4459850"/>
              <a:gd name="connsiteY29" fmla="*/ 4464050 h 4464050"/>
              <a:gd name="connsiteX30" fmla="*/ 0 w 4459850"/>
              <a:gd name="connsiteY30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19994 w 4459850"/>
              <a:gd name="connsiteY5" fmla="*/ 28871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570628 h 4464050"/>
              <a:gd name="connsiteX9" fmla="*/ 3519994 w 4459850"/>
              <a:gd name="connsiteY9" fmla="*/ 28871 h 4464050"/>
              <a:gd name="connsiteX10" fmla="*/ 1672385 w 4459850"/>
              <a:gd name="connsiteY10" fmla="*/ 0 h 4464050"/>
              <a:gd name="connsiteX11" fmla="*/ 1673781 w 4459850"/>
              <a:gd name="connsiteY11" fmla="*/ 0 h 4464050"/>
              <a:gd name="connsiteX12" fmla="*/ 2175191 w 4459850"/>
              <a:gd name="connsiteY12" fmla="*/ 570628 h 4464050"/>
              <a:gd name="connsiteX13" fmla="*/ 2175191 w 4459850"/>
              <a:gd name="connsiteY13" fmla="*/ 3893320 h 4464050"/>
              <a:gd name="connsiteX14" fmla="*/ 1673690 w 4459850"/>
              <a:gd name="connsiteY14" fmla="*/ 4464050 h 4464050"/>
              <a:gd name="connsiteX15" fmla="*/ 1672385 w 4459850"/>
              <a:gd name="connsiteY15" fmla="*/ 4464050 h 4464050"/>
              <a:gd name="connsiteX16" fmla="*/ 1672385 w 4459850"/>
              <a:gd name="connsiteY16" fmla="*/ 0 h 4464050"/>
              <a:gd name="connsiteX17" fmla="*/ 923822 w 4459850"/>
              <a:gd name="connsiteY17" fmla="*/ 0 h 4464050"/>
              <a:gd name="connsiteX18" fmla="*/ 925575 w 4459850"/>
              <a:gd name="connsiteY18" fmla="*/ 0 h 4464050"/>
              <a:gd name="connsiteX19" fmla="*/ 1555348 w 4459850"/>
              <a:gd name="connsiteY19" fmla="*/ 570628 h 4464050"/>
              <a:gd name="connsiteX20" fmla="*/ 1555348 w 4459850"/>
              <a:gd name="connsiteY20" fmla="*/ 3893320 h 4464050"/>
              <a:gd name="connsiteX21" fmla="*/ 925461 w 4459850"/>
              <a:gd name="connsiteY21" fmla="*/ 4464050 h 4464050"/>
              <a:gd name="connsiteX22" fmla="*/ 923822 w 4459850"/>
              <a:gd name="connsiteY22" fmla="*/ 4464050 h 4464050"/>
              <a:gd name="connsiteX23" fmla="*/ 923822 w 4459850"/>
              <a:gd name="connsiteY23" fmla="*/ 0 h 4464050"/>
              <a:gd name="connsiteX24" fmla="*/ 0 w 4459850"/>
              <a:gd name="connsiteY24" fmla="*/ 0 h 4464050"/>
              <a:gd name="connsiteX25" fmla="*/ 2239 w 4459850"/>
              <a:gd name="connsiteY25" fmla="*/ 0 h 4464050"/>
              <a:gd name="connsiteX26" fmla="*/ 806883 w 4459850"/>
              <a:gd name="connsiteY26" fmla="*/ 570628 h 4464050"/>
              <a:gd name="connsiteX27" fmla="*/ 806883 w 4459850"/>
              <a:gd name="connsiteY27" fmla="*/ 3893419 h 4464050"/>
              <a:gd name="connsiteX28" fmla="*/ 2234 w 4459850"/>
              <a:gd name="connsiteY28" fmla="*/ 4464050 h 4464050"/>
              <a:gd name="connsiteX29" fmla="*/ 0 w 4459850"/>
              <a:gd name="connsiteY29" fmla="*/ 4464050 h 4464050"/>
              <a:gd name="connsiteX30" fmla="*/ 0 w 4459850"/>
              <a:gd name="connsiteY30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2911872 w 4459850"/>
              <a:gd name="connsiteY5" fmla="*/ 570628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570628 h 4464050"/>
              <a:gd name="connsiteX9" fmla="*/ 1672385 w 4459850"/>
              <a:gd name="connsiteY9" fmla="*/ 0 h 4464050"/>
              <a:gd name="connsiteX10" fmla="*/ 1673781 w 4459850"/>
              <a:gd name="connsiteY10" fmla="*/ 0 h 4464050"/>
              <a:gd name="connsiteX11" fmla="*/ 2175191 w 4459850"/>
              <a:gd name="connsiteY11" fmla="*/ 570628 h 4464050"/>
              <a:gd name="connsiteX12" fmla="*/ 2175191 w 4459850"/>
              <a:gd name="connsiteY12" fmla="*/ 3893320 h 4464050"/>
              <a:gd name="connsiteX13" fmla="*/ 1673690 w 4459850"/>
              <a:gd name="connsiteY13" fmla="*/ 4464050 h 4464050"/>
              <a:gd name="connsiteX14" fmla="*/ 1672385 w 4459850"/>
              <a:gd name="connsiteY14" fmla="*/ 4464050 h 4464050"/>
              <a:gd name="connsiteX15" fmla="*/ 1672385 w 4459850"/>
              <a:gd name="connsiteY15" fmla="*/ 0 h 4464050"/>
              <a:gd name="connsiteX16" fmla="*/ 923822 w 4459850"/>
              <a:gd name="connsiteY16" fmla="*/ 0 h 4464050"/>
              <a:gd name="connsiteX17" fmla="*/ 925575 w 4459850"/>
              <a:gd name="connsiteY17" fmla="*/ 0 h 4464050"/>
              <a:gd name="connsiteX18" fmla="*/ 1555348 w 4459850"/>
              <a:gd name="connsiteY18" fmla="*/ 570628 h 4464050"/>
              <a:gd name="connsiteX19" fmla="*/ 1555348 w 4459850"/>
              <a:gd name="connsiteY19" fmla="*/ 3893320 h 4464050"/>
              <a:gd name="connsiteX20" fmla="*/ 925461 w 4459850"/>
              <a:gd name="connsiteY20" fmla="*/ 4464050 h 4464050"/>
              <a:gd name="connsiteX21" fmla="*/ 923822 w 4459850"/>
              <a:gd name="connsiteY21" fmla="*/ 4464050 h 4464050"/>
              <a:gd name="connsiteX22" fmla="*/ 923822 w 4459850"/>
              <a:gd name="connsiteY22" fmla="*/ 0 h 4464050"/>
              <a:gd name="connsiteX23" fmla="*/ 0 w 4459850"/>
              <a:gd name="connsiteY23" fmla="*/ 0 h 4464050"/>
              <a:gd name="connsiteX24" fmla="*/ 2239 w 4459850"/>
              <a:gd name="connsiteY24" fmla="*/ 0 h 4464050"/>
              <a:gd name="connsiteX25" fmla="*/ 806883 w 4459850"/>
              <a:gd name="connsiteY25" fmla="*/ 570628 h 4464050"/>
              <a:gd name="connsiteX26" fmla="*/ 806883 w 4459850"/>
              <a:gd name="connsiteY26" fmla="*/ 3893419 h 4464050"/>
              <a:gd name="connsiteX27" fmla="*/ 2234 w 4459850"/>
              <a:gd name="connsiteY27" fmla="*/ 4464050 h 4464050"/>
              <a:gd name="connsiteX28" fmla="*/ 0 w 4459850"/>
              <a:gd name="connsiteY28" fmla="*/ 4464050 h 4464050"/>
              <a:gd name="connsiteX29" fmla="*/ 0 w 4459850"/>
              <a:gd name="connsiteY29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2911872 w 4459850"/>
              <a:gd name="connsiteY5" fmla="*/ 570628 h 4464050"/>
              <a:gd name="connsiteX6" fmla="*/ 3543399 w 4459850"/>
              <a:gd name="connsiteY6" fmla="*/ 4464050 h 4464050"/>
              <a:gd name="connsiteX7" fmla="*/ 2911872 w 4459850"/>
              <a:gd name="connsiteY7" fmla="*/ 570628 h 4464050"/>
              <a:gd name="connsiteX8" fmla="*/ 1672385 w 4459850"/>
              <a:gd name="connsiteY8" fmla="*/ 0 h 4464050"/>
              <a:gd name="connsiteX9" fmla="*/ 1673781 w 4459850"/>
              <a:gd name="connsiteY9" fmla="*/ 0 h 4464050"/>
              <a:gd name="connsiteX10" fmla="*/ 2175191 w 4459850"/>
              <a:gd name="connsiteY10" fmla="*/ 570628 h 4464050"/>
              <a:gd name="connsiteX11" fmla="*/ 2175191 w 4459850"/>
              <a:gd name="connsiteY11" fmla="*/ 3893320 h 4464050"/>
              <a:gd name="connsiteX12" fmla="*/ 1673690 w 4459850"/>
              <a:gd name="connsiteY12" fmla="*/ 4464050 h 4464050"/>
              <a:gd name="connsiteX13" fmla="*/ 1672385 w 4459850"/>
              <a:gd name="connsiteY13" fmla="*/ 4464050 h 4464050"/>
              <a:gd name="connsiteX14" fmla="*/ 1672385 w 4459850"/>
              <a:gd name="connsiteY14" fmla="*/ 0 h 4464050"/>
              <a:gd name="connsiteX15" fmla="*/ 923822 w 4459850"/>
              <a:gd name="connsiteY15" fmla="*/ 0 h 4464050"/>
              <a:gd name="connsiteX16" fmla="*/ 925575 w 4459850"/>
              <a:gd name="connsiteY16" fmla="*/ 0 h 4464050"/>
              <a:gd name="connsiteX17" fmla="*/ 1555348 w 4459850"/>
              <a:gd name="connsiteY17" fmla="*/ 570628 h 4464050"/>
              <a:gd name="connsiteX18" fmla="*/ 1555348 w 4459850"/>
              <a:gd name="connsiteY18" fmla="*/ 3893320 h 4464050"/>
              <a:gd name="connsiteX19" fmla="*/ 925461 w 4459850"/>
              <a:gd name="connsiteY19" fmla="*/ 4464050 h 4464050"/>
              <a:gd name="connsiteX20" fmla="*/ 923822 w 4459850"/>
              <a:gd name="connsiteY20" fmla="*/ 4464050 h 4464050"/>
              <a:gd name="connsiteX21" fmla="*/ 923822 w 4459850"/>
              <a:gd name="connsiteY21" fmla="*/ 0 h 4464050"/>
              <a:gd name="connsiteX22" fmla="*/ 0 w 4459850"/>
              <a:gd name="connsiteY22" fmla="*/ 0 h 4464050"/>
              <a:gd name="connsiteX23" fmla="*/ 2239 w 4459850"/>
              <a:gd name="connsiteY23" fmla="*/ 0 h 4464050"/>
              <a:gd name="connsiteX24" fmla="*/ 806883 w 4459850"/>
              <a:gd name="connsiteY24" fmla="*/ 570628 h 4464050"/>
              <a:gd name="connsiteX25" fmla="*/ 806883 w 4459850"/>
              <a:gd name="connsiteY25" fmla="*/ 3893419 h 4464050"/>
              <a:gd name="connsiteX26" fmla="*/ 2234 w 4459850"/>
              <a:gd name="connsiteY26" fmla="*/ 4464050 h 4464050"/>
              <a:gd name="connsiteX27" fmla="*/ 0 w 4459850"/>
              <a:gd name="connsiteY27" fmla="*/ 4464050 h 4464050"/>
              <a:gd name="connsiteX28" fmla="*/ 0 w 4459850"/>
              <a:gd name="connsiteY28" fmla="*/ 0 h 4464050"/>
              <a:gd name="connsiteX0" fmla="*/ 3660238 w 4459850"/>
              <a:gd name="connsiteY0" fmla="*/ 570628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2911872 w 4459850"/>
              <a:gd name="connsiteY4" fmla="*/ 570628 h 4464050"/>
              <a:gd name="connsiteX5" fmla="*/ 3543399 w 4459850"/>
              <a:gd name="connsiteY5" fmla="*/ 4464050 h 4464050"/>
              <a:gd name="connsiteX6" fmla="*/ 2911872 w 4459850"/>
              <a:gd name="connsiteY6" fmla="*/ 570628 h 4464050"/>
              <a:gd name="connsiteX7" fmla="*/ 1672385 w 4459850"/>
              <a:gd name="connsiteY7" fmla="*/ 0 h 4464050"/>
              <a:gd name="connsiteX8" fmla="*/ 1673781 w 4459850"/>
              <a:gd name="connsiteY8" fmla="*/ 0 h 4464050"/>
              <a:gd name="connsiteX9" fmla="*/ 2175191 w 4459850"/>
              <a:gd name="connsiteY9" fmla="*/ 570628 h 4464050"/>
              <a:gd name="connsiteX10" fmla="*/ 2175191 w 4459850"/>
              <a:gd name="connsiteY10" fmla="*/ 3893320 h 4464050"/>
              <a:gd name="connsiteX11" fmla="*/ 1673690 w 4459850"/>
              <a:gd name="connsiteY11" fmla="*/ 4464050 h 4464050"/>
              <a:gd name="connsiteX12" fmla="*/ 1672385 w 4459850"/>
              <a:gd name="connsiteY12" fmla="*/ 4464050 h 4464050"/>
              <a:gd name="connsiteX13" fmla="*/ 1672385 w 4459850"/>
              <a:gd name="connsiteY13" fmla="*/ 0 h 4464050"/>
              <a:gd name="connsiteX14" fmla="*/ 923822 w 4459850"/>
              <a:gd name="connsiteY14" fmla="*/ 0 h 4464050"/>
              <a:gd name="connsiteX15" fmla="*/ 925575 w 4459850"/>
              <a:gd name="connsiteY15" fmla="*/ 0 h 4464050"/>
              <a:gd name="connsiteX16" fmla="*/ 1555348 w 4459850"/>
              <a:gd name="connsiteY16" fmla="*/ 570628 h 4464050"/>
              <a:gd name="connsiteX17" fmla="*/ 1555348 w 4459850"/>
              <a:gd name="connsiteY17" fmla="*/ 3893320 h 4464050"/>
              <a:gd name="connsiteX18" fmla="*/ 925461 w 4459850"/>
              <a:gd name="connsiteY18" fmla="*/ 4464050 h 4464050"/>
              <a:gd name="connsiteX19" fmla="*/ 923822 w 4459850"/>
              <a:gd name="connsiteY19" fmla="*/ 4464050 h 4464050"/>
              <a:gd name="connsiteX20" fmla="*/ 923822 w 4459850"/>
              <a:gd name="connsiteY20" fmla="*/ 0 h 4464050"/>
              <a:gd name="connsiteX21" fmla="*/ 0 w 4459850"/>
              <a:gd name="connsiteY21" fmla="*/ 0 h 4464050"/>
              <a:gd name="connsiteX22" fmla="*/ 2239 w 4459850"/>
              <a:gd name="connsiteY22" fmla="*/ 0 h 4464050"/>
              <a:gd name="connsiteX23" fmla="*/ 806883 w 4459850"/>
              <a:gd name="connsiteY23" fmla="*/ 570628 h 4464050"/>
              <a:gd name="connsiteX24" fmla="*/ 806883 w 4459850"/>
              <a:gd name="connsiteY24" fmla="*/ 3893419 h 4464050"/>
              <a:gd name="connsiteX25" fmla="*/ 2234 w 4459850"/>
              <a:gd name="connsiteY25" fmla="*/ 4464050 h 4464050"/>
              <a:gd name="connsiteX26" fmla="*/ 0 w 4459850"/>
              <a:gd name="connsiteY26" fmla="*/ 4464050 h 4464050"/>
              <a:gd name="connsiteX27" fmla="*/ 0 w 4459850"/>
              <a:gd name="connsiteY27" fmla="*/ 0 h 4464050"/>
              <a:gd name="connsiteX0" fmla="*/ 3660238 w 4459850"/>
              <a:gd name="connsiteY0" fmla="*/ 570628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1672385 w 4459850"/>
              <a:gd name="connsiteY4" fmla="*/ 0 h 4464050"/>
              <a:gd name="connsiteX5" fmla="*/ 1673781 w 4459850"/>
              <a:gd name="connsiteY5" fmla="*/ 0 h 4464050"/>
              <a:gd name="connsiteX6" fmla="*/ 2175191 w 4459850"/>
              <a:gd name="connsiteY6" fmla="*/ 570628 h 4464050"/>
              <a:gd name="connsiteX7" fmla="*/ 2175191 w 4459850"/>
              <a:gd name="connsiteY7" fmla="*/ 3893320 h 4464050"/>
              <a:gd name="connsiteX8" fmla="*/ 1673690 w 4459850"/>
              <a:gd name="connsiteY8" fmla="*/ 4464050 h 4464050"/>
              <a:gd name="connsiteX9" fmla="*/ 1672385 w 4459850"/>
              <a:gd name="connsiteY9" fmla="*/ 4464050 h 4464050"/>
              <a:gd name="connsiteX10" fmla="*/ 1672385 w 4459850"/>
              <a:gd name="connsiteY10" fmla="*/ 0 h 4464050"/>
              <a:gd name="connsiteX11" fmla="*/ 923822 w 4459850"/>
              <a:gd name="connsiteY11" fmla="*/ 0 h 4464050"/>
              <a:gd name="connsiteX12" fmla="*/ 925575 w 4459850"/>
              <a:gd name="connsiteY12" fmla="*/ 0 h 4464050"/>
              <a:gd name="connsiteX13" fmla="*/ 1555348 w 4459850"/>
              <a:gd name="connsiteY13" fmla="*/ 570628 h 4464050"/>
              <a:gd name="connsiteX14" fmla="*/ 1555348 w 4459850"/>
              <a:gd name="connsiteY14" fmla="*/ 3893320 h 4464050"/>
              <a:gd name="connsiteX15" fmla="*/ 925461 w 4459850"/>
              <a:gd name="connsiteY15" fmla="*/ 4464050 h 4464050"/>
              <a:gd name="connsiteX16" fmla="*/ 923822 w 4459850"/>
              <a:gd name="connsiteY16" fmla="*/ 4464050 h 4464050"/>
              <a:gd name="connsiteX17" fmla="*/ 923822 w 4459850"/>
              <a:gd name="connsiteY17" fmla="*/ 0 h 4464050"/>
              <a:gd name="connsiteX18" fmla="*/ 0 w 4459850"/>
              <a:gd name="connsiteY18" fmla="*/ 0 h 4464050"/>
              <a:gd name="connsiteX19" fmla="*/ 2239 w 4459850"/>
              <a:gd name="connsiteY19" fmla="*/ 0 h 4464050"/>
              <a:gd name="connsiteX20" fmla="*/ 806883 w 4459850"/>
              <a:gd name="connsiteY20" fmla="*/ 570628 h 4464050"/>
              <a:gd name="connsiteX21" fmla="*/ 806883 w 4459850"/>
              <a:gd name="connsiteY21" fmla="*/ 3893419 h 4464050"/>
              <a:gd name="connsiteX22" fmla="*/ 2234 w 4459850"/>
              <a:gd name="connsiteY22" fmla="*/ 4464050 h 4464050"/>
              <a:gd name="connsiteX23" fmla="*/ 0 w 4459850"/>
              <a:gd name="connsiteY23" fmla="*/ 4464050 h 4464050"/>
              <a:gd name="connsiteX24" fmla="*/ 0 w 4459850"/>
              <a:gd name="connsiteY24" fmla="*/ 0 h 4464050"/>
              <a:gd name="connsiteX0" fmla="*/ 3660238 w 4459850"/>
              <a:gd name="connsiteY0" fmla="*/ 389341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1672385 w 4459850"/>
              <a:gd name="connsiteY3" fmla="*/ 0 h 4464050"/>
              <a:gd name="connsiteX4" fmla="*/ 1673781 w 4459850"/>
              <a:gd name="connsiteY4" fmla="*/ 0 h 4464050"/>
              <a:gd name="connsiteX5" fmla="*/ 2175191 w 4459850"/>
              <a:gd name="connsiteY5" fmla="*/ 570628 h 4464050"/>
              <a:gd name="connsiteX6" fmla="*/ 2175191 w 4459850"/>
              <a:gd name="connsiteY6" fmla="*/ 3893320 h 4464050"/>
              <a:gd name="connsiteX7" fmla="*/ 1673690 w 4459850"/>
              <a:gd name="connsiteY7" fmla="*/ 4464050 h 4464050"/>
              <a:gd name="connsiteX8" fmla="*/ 1672385 w 4459850"/>
              <a:gd name="connsiteY8" fmla="*/ 4464050 h 4464050"/>
              <a:gd name="connsiteX9" fmla="*/ 1672385 w 4459850"/>
              <a:gd name="connsiteY9" fmla="*/ 0 h 4464050"/>
              <a:gd name="connsiteX10" fmla="*/ 923822 w 4459850"/>
              <a:gd name="connsiteY10" fmla="*/ 0 h 4464050"/>
              <a:gd name="connsiteX11" fmla="*/ 925575 w 4459850"/>
              <a:gd name="connsiteY11" fmla="*/ 0 h 4464050"/>
              <a:gd name="connsiteX12" fmla="*/ 1555348 w 4459850"/>
              <a:gd name="connsiteY12" fmla="*/ 570628 h 4464050"/>
              <a:gd name="connsiteX13" fmla="*/ 1555348 w 4459850"/>
              <a:gd name="connsiteY13" fmla="*/ 3893320 h 4464050"/>
              <a:gd name="connsiteX14" fmla="*/ 925461 w 4459850"/>
              <a:gd name="connsiteY14" fmla="*/ 4464050 h 4464050"/>
              <a:gd name="connsiteX15" fmla="*/ 923822 w 4459850"/>
              <a:gd name="connsiteY15" fmla="*/ 4464050 h 4464050"/>
              <a:gd name="connsiteX16" fmla="*/ 923822 w 4459850"/>
              <a:gd name="connsiteY16" fmla="*/ 0 h 4464050"/>
              <a:gd name="connsiteX17" fmla="*/ 0 w 4459850"/>
              <a:gd name="connsiteY17" fmla="*/ 0 h 4464050"/>
              <a:gd name="connsiteX18" fmla="*/ 2239 w 4459850"/>
              <a:gd name="connsiteY18" fmla="*/ 0 h 4464050"/>
              <a:gd name="connsiteX19" fmla="*/ 806883 w 4459850"/>
              <a:gd name="connsiteY19" fmla="*/ 570628 h 4464050"/>
              <a:gd name="connsiteX20" fmla="*/ 806883 w 4459850"/>
              <a:gd name="connsiteY20" fmla="*/ 3893419 h 4464050"/>
              <a:gd name="connsiteX21" fmla="*/ 2234 w 4459850"/>
              <a:gd name="connsiteY21" fmla="*/ 4464050 h 4464050"/>
              <a:gd name="connsiteX22" fmla="*/ 0 w 4459850"/>
              <a:gd name="connsiteY22" fmla="*/ 4464050 h 4464050"/>
              <a:gd name="connsiteX23" fmla="*/ 0 w 4459850"/>
              <a:gd name="connsiteY23" fmla="*/ 0 h 4464050"/>
              <a:gd name="connsiteX0" fmla="*/ 1672385 w 2175191"/>
              <a:gd name="connsiteY0" fmla="*/ 0 h 4464050"/>
              <a:gd name="connsiteX1" fmla="*/ 1673781 w 2175191"/>
              <a:gd name="connsiteY1" fmla="*/ 0 h 4464050"/>
              <a:gd name="connsiteX2" fmla="*/ 2175191 w 2175191"/>
              <a:gd name="connsiteY2" fmla="*/ 570628 h 4464050"/>
              <a:gd name="connsiteX3" fmla="*/ 2175191 w 2175191"/>
              <a:gd name="connsiteY3" fmla="*/ 3893320 h 4464050"/>
              <a:gd name="connsiteX4" fmla="*/ 1673690 w 2175191"/>
              <a:gd name="connsiteY4" fmla="*/ 4464050 h 4464050"/>
              <a:gd name="connsiteX5" fmla="*/ 1672385 w 2175191"/>
              <a:gd name="connsiteY5" fmla="*/ 4464050 h 4464050"/>
              <a:gd name="connsiteX6" fmla="*/ 1672385 w 2175191"/>
              <a:gd name="connsiteY6" fmla="*/ 0 h 4464050"/>
              <a:gd name="connsiteX7" fmla="*/ 923822 w 2175191"/>
              <a:gd name="connsiteY7" fmla="*/ 0 h 4464050"/>
              <a:gd name="connsiteX8" fmla="*/ 925575 w 2175191"/>
              <a:gd name="connsiteY8" fmla="*/ 0 h 4464050"/>
              <a:gd name="connsiteX9" fmla="*/ 1555348 w 2175191"/>
              <a:gd name="connsiteY9" fmla="*/ 570628 h 4464050"/>
              <a:gd name="connsiteX10" fmla="*/ 1555348 w 2175191"/>
              <a:gd name="connsiteY10" fmla="*/ 3893320 h 4464050"/>
              <a:gd name="connsiteX11" fmla="*/ 925461 w 2175191"/>
              <a:gd name="connsiteY11" fmla="*/ 4464050 h 4464050"/>
              <a:gd name="connsiteX12" fmla="*/ 923822 w 2175191"/>
              <a:gd name="connsiteY12" fmla="*/ 4464050 h 4464050"/>
              <a:gd name="connsiteX13" fmla="*/ 923822 w 2175191"/>
              <a:gd name="connsiteY13" fmla="*/ 0 h 4464050"/>
              <a:gd name="connsiteX14" fmla="*/ 0 w 2175191"/>
              <a:gd name="connsiteY14" fmla="*/ 0 h 4464050"/>
              <a:gd name="connsiteX15" fmla="*/ 2239 w 2175191"/>
              <a:gd name="connsiteY15" fmla="*/ 0 h 4464050"/>
              <a:gd name="connsiteX16" fmla="*/ 806883 w 2175191"/>
              <a:gd name="connsiteY16" fmla="*/ 570628 h 4464050"/>
              <a:gd name="connsiteX17" fmla="*/ 806883 w 2175191"/>
              <a:gd name="connsiteY17" fmla="*/ 3893419 h 4464050"/>
              <a:gd name="connsiteX18" fmla="*/ 2234 w 2175191"/>
              <a:gd name="connsiteY18" fmla="*/ 4464050 h 4464050"/>
              <a:gd name="connsiteX19" fmla="*/ 0 w 2175191"/>
              <a:gd name="connsiteY19" fmla="*/ 4464050 h 4464050"/>
              <a:gd name="connsiteX20" fmla="*/ 0 w 2175191"/>
              <a:gd name="connsiteY20" fmla="*/ 0 h 446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175191" h="4464050">
                <a:moveTo>
                  <a:pt x="1672385" y="0"/>
                </a:moveTo>
                <a:lnTo>
                  <a:pt x="1673781" y="0"/>
                </a:lnTo>
                <a:lnTo>
                  <a:pt x="2175191" y="570628"/>
                </a:lnTo>
                <a:lnTo>
                  <a:pt x="2175191" y="3893320"/>
                </a:lnTo>
                <a:lnTo>
                  <a:pt x="1673690" y="4464050"/>
                </a:lnTo>
                <a:lnTo>
                  <a:pt x="1672385" y="4464050"/>
                </a:lnTo>
                <a:lnTo>
                  <a:pt x="1672385" y="0"/>
                </a:lnTo>
                <a:close/>
                <a:moveTo>
                  <a:pt x="923822" y="0"/>
                </a:moveTo>
                <a:lnTo>
                  <a:pt x="925575" y="0"/>
                </a:lnTo>
                <a:lnTo>
                  <a:pt x="1555348" y="570628"/>
                </a:lnTo>
                <a:lnTo>
                  <a:pt x="1555348" y="3893320"/>
                </a:lnTo>
                <a:lnTo>
                  <a:pt x="925461" y="4464050"/>
                </a:lnTo>
                <a:lnTo>
                  <a:pt x="923822" y="4464050"/>
                </a:lnTo>
                <a:lnTo>
                  <a:pt x="923822" y="0"/>
                </a:lnTo>
                <a:close/>
                <a:moveTo>
                  <a:pt x="0" y="0"/>
                </a:moveTo>
                <a:lnTo>
                  <a:pt x="2239" y="0"/>
                </a:lnTo>
                <a:lnTo>
                  <a:pt x="806883" y="570628"/>
                </a:lnTo>
                <a:lnTo>
                  <a:pt x="806883" y="3893419"/>
                </a:lnTo>
                <a:lnTo>
                  <a:pt x="2234" y="4464050"/>
                </a:lnTo>
                <a:lnTo>
                  <a:pt x="0" y="446405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insert pictur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C023564-A8C0-59B7-53F7-E6D3FBAED7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988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094" userDrawn="1">
          <p15:clr>
            <a:srgbClr val="547EBF"/>
          </p15:clr>
        </p15:guide>
        <p15:guide id="3" orient="horz" pos="2822" userDrawn="1">
          <p15:clr>
            <a:srgbClr val="547EBF"/>
          </p15:clr>
        </p15:guide>
        <p15:guide id="4" pos="272" userDrawn="1">
          <p15:clr>
            <a:srgbClr val="547EB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ogo Cover -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918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918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sp>
        <p:nvSpPr>
          <p:cNvPr id="2" name="Picture Placeholder 29">
            <a:extLst>
              <a:ext uri="{FF2B5EF4-FFF2-40B4-BE49-F238E27FC236}">
                <a16:creationId xmlns:a16="http://schemas.microsoft.com/office/drawing/2014/main" id="{CB11B69D-F8A0-EBDF-8FDF-F6C59FB328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409628" y="411164"/>
            <a:ext cx="2323309" cy="3097745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4" name="Picture Placeholder 29">
            <a:extLst>
              <a:ext uri="{FF2B5EF4-FFF2-40B4-BE49-F238E27FC236}">
                <a16:creationId xmlns:a16="http://schemas.microsoft.com/office/drawing/2014/main" id="{162FE58C-01D8-66F8-BE7C-FC85A10D21A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5926" y="824441"/>
            <a:ext cx="2323309" cy="3097745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5" name="Picture Placeholder 29">
            <a:extLst>
              <a:ext uri="{FF2B5EF4-FFF2-40B4-BE49-F238E27FC236}">
                <a16:creationId xmlns:a16="http://schemas.microsoft.com/office/drawing/2014/main" id="{6557B76C-2C46-F1C3-C076-3C704E6244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622224" y="1237718"/>
            <a:ext cx="2323309" cy="3097745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247D551-215C-3522-32F8-C9D8DCC05F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105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4" userDrawn="1">
          <p15:clr>
            <a:srgbClr val="547EBF"/>
          </p15:clr>
        </p15:guide>
        <p15:guide id="2" orient="horz" pos="2822" userDrawn="1">
          <p15:clr>
            <a:srgbClr val="547EBF"/>
          </p15:clr>
        </p15:guide>
        <p15:guide id="4" pos="272" userDrawn="1">
          <p15:clr>
            <a:srgbClr val="547EB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5166038-EB60-1A49-6801-6DA719F29B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A68DDDC-9903-BFAF-5E9A-336758A7278E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6A751BA-2840-1E69-BC9D-BD21DB693D9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408A4F4-3CDD-073B-972C-94D1F9FAA87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D2CD531-0442-4824-A6EB-7B598FE129F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645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1043">
          <p15:clr>
            <a:srgbClr val="FBAE40"/>
          </p15:clr>
        </p15:guide>
        <p15:guide id="3" pos="1791">
          <p15:clr>
            <a:srgbClr val="FBAE40"/>
          </p15:clr>
        </p15:guide>
        <p15:guide id="4" orient="horz" pos="2845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00318A8-2CAD-CDEC-768A-B5B13AD3CB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DD2D1FC-FCB0-BFA6-7B56-667F7747CFD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1800" y="1239838"/>
            <a:ext cx="4051300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CE6EB6D-9FE3-72B5-4E71-59226A87B5D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660900" y="1239838"/>
            <a:ext cx="4051300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C13C02B7-ADC8-2D9F-6E44-62115A7D322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221117ED-42A8-FDD1-011C-74C6935B09A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73FF4320-CD95-4F2D-D445-C3F1316C089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5592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B54C2418-D456-4DAC-9417-8C4FF4CB92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7417D00D-064A-EDFA-25E2-5D87150B171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799" y="1239838"/>
            <a:ext cx="2628000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84EF7F72-DE1C-A6C0-D702-2B69B66FE2D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258000" y="1239838"/>
            <a:ext cx="2628000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0A57B1CE-A1AF-2297-DD9E-CCAEDCF5ADE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084200" y="1239838"/>
            <a:ext cx="2628000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316DCDEE-445E-7C5A-4805-9E2DEF37355F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6A610568-7520-45F3-EF90-8771A38361F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D453492-B08E-4544-45EA-5F38E5CE273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8312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B54C2418-D456-4DAC-9417-8C4FF4CB92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985AB61-0C88-34B0-135B-840C3CA67A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1800" y="1239838"/>
            <a:ext cx="2628000" cy="1625910"/>
          </a:xfrm>
          <a:noFill/>
        </p:spPr>
        <p:txBody>
          <a:bodyPr anchor="b" anchorCtr="0">
            <a:noAutofit/>
          </a:bodyPr>
          <a:lstStyle>
            <a:lvl1pPr algn="ctr">
              <a:defRPr sz="6000">
                <a:solidFill>
                  <a:schemeClr val="accent1"/>
                </a:solidFill>
                <a:latin typeface="+mj-lt"/>
              </a:defRPr>
            </a:lvl1pPr>
            <a:lvl5pPr algn="ctr">
              <a:defRPr sz="44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Value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81EC949D-0C4A-89D8-1DA2-73269CDF4B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58000" y="1239838"/>
            <a:ext cx="2628000" cy="1625910"/>
          </a:xfrm>
          <a:noFill/>
        </p:spPr>
        <p:txBody>
          <a:bodyPr anchor="b" anchorCtr="0">
            <a:noAutofit/>
          </a:bodyPr>
          <a:lstStyle>
            <a:lvl1pPr algn="ctr">
              <a:defRPr sz="6000">
                <a:solidFill>
                  <a:schemeClr val="accent1"/>
                </a:solidFill>
                <a:latin typeface="+mj-lt"/>
              </a:defRPr>
            </a:lvl1pPr>
            <a:lvl5pPr algn="ctr">
              <a:defRPr sz="44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Value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7BDF6531-7792-62FD-1FA4-E5586F07B67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84200" y="1239838"/>
            <a:ext cx="2628000" cy="1625910"/>
          </a:xfrm>
          <a:noFill/>
        </p:spPr>
        <p:txBody>
          <a:bodyPr anchor="b" anchorCtr="0">
            <a:noAutofit/>
          </a:bodyPr>
          <a:lstStyle>
            <a:lvl1pPr algn="ctr">
              <a:defRPr sz="6000">
                <a:solidFill>
                  <a:schemeClr val="accent1"/>
                </a:solidFill>
                <a:latin typeface="+mj-lt"/>
              </a:defRPr>
            </a:lvl1pPr>
            <a:lvl5pPr algn="ctr">
              <a:defRPr sz="44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Value</a:t>
            </a:r>
            <a:endParaRPr lang="en-US"/>
          </a:p>
        </p:txBody>
      </p:sp>
      <p:sp>
        <p:nvSpPr>
          <p:cNvPr id="21" name="Content Placeholder 13">
            <a:extLst>
              <a:ext uri="{FF2B5EF4-FFF2-40B4-BE49-F238E27FC236}">
                <a16:creationId xmlns:a16="http://schemas.microsoft.com/office/drawing/2014/main" id="{384041AE-73BA-2B61-19D1-9EDA7544306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799" y="2969442"/>
            <a:ext cx="2628000" cy="154699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Content Placeholder 15">
            <a:extLst>
              <a:ext uri="{FF2B5EF4-FFF2-40B4-BE49-F238E27FC236}">
                <a16:creationId xmlns:a16="http://schemas.microsoft.com/office/drawing/2014/main" id="{CECEA6A9-3372-56EF-4363-2D117AC1CE82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258000" y="2969442"/>
            <a:ext cx="2628000" cy="154699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3" name="Content Placeholder 17">
            <a:extLst>
              <a:ext uri="{FF2B5EF4-FFF2-40B4-BE49-F238E27FC236}">
                <a16:creationId xmlns:a16="http://schemas.microsoft.com/office/drawing/2014/main" id="{40543E32-3DD0-93DE-E2AD-63B4AF51222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084200" y="2969442"/>
            <a:ext cx="2628000" cy="154699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4" name="Date Placeholder 23">
            <a:extLst>
              <a:ext uri="{FF2B5EF4-FFF2-40B4-BE49-F238E27FC236}">
                <a16:creationId xmlns:a16="http://schemas.microsoft.com/office/drawing/2014/main" id="{8707A416-C804-78B6-478D-CA50D6EE075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5" name="Footer Placeholder 24">
            <a:extLst>
              <a:ext uri="{FF2B5EF4-FFF2-40B4-BE49-F238E27FC236}">
                <a16:creationId xmlns:a16="http://schemas.microsoft.com/office/drawing/2014/main" id="{78285B88-6A20-F5A8-E6DF-45224F9CA62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574C5699-8F51-E4E5-F43C-EF08CAAFFD8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9716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vs 2 colum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36E419C-17BE-AD5B-8270-C7760828C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42A69071-EAF2-371B-45AF-D91BB172112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799" y="1239838"/>
            <a:ext cx="2627314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43499CA-4C96-48CB-0E23-65C850A55F0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240088" y="1239838"/>
            <a:ext cx="5472112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5195B23-4CE8-0F83-C354-D09F3255C4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CC14E36-F7C6-9ABF-11CE-4422BC5109F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CF03D68-8FE8-BC7B-6013-06EB917B650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1475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ogo Cover -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933D8557-708A-63F8-E3F0-46300F55EE9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481746" y="411163"/>
            <a:ext cx="3230454" cy="3889376"/>
          </a:xfrm>
          <a:custGeom>
            <a:avLst/>
            <a:gdLst>
              <a:gd name="connsiteX0" fmla="*/ 1287193 w 3289788"/>
              <a:gd name="connsiteY0" fmla="*/ 0 h 3960812"/>
              <a:gd name="connsiteX1" fmla="*/ 3289788 w 3289788"/>
              <a:gd name="connsiteY1" fmla="*/ 0 h 3960812"/>
              <a:gd name="connsiteX2" fmla="*/ 3289788 w 3289788"/>
              <a:gd name="connsiteY2" fmla="*/ 2670127 h 3960812"/>
              <a:gd name="connsiteX3" fmla="*/ 3032351 w 3289788"/>
              <a:gd name="connsiteY3" fmla="*/ 2670127 h 3960812"/>
              <a:gd name="connsiteX4" fmla="*/ 3032351 w 3289788"/>
              <a:gd name="connsiteY4" fmla="*/ 2928264 h 3960812"/>
              <a:gd name="connsiteX5" fmla="*/ 2774912 w 3289788"/>
              <a:gd name="connsiteY5" fmla="*/ 2928264 h 3960812"/>
              <a:gd name="connsiteX6" fmla="*/ 2774912 w 3289788"/>
              <a:gd name="connsiteY6" fmla="*/ 3186401 h 3960812"/>
              <a:gd name="connsiteX7" fmla="*/ 2517473 w 3289788"/>
              <a:gd name="connsiteY7" fmla="*/ 3186401 h 3960812"/>
              <a:gd name="connsiteX8" fmla="*/ 2517473 w 3289788"/>
              <a:gd name="connsiteY8" fmla="*/ 3444538 h 3960812"/>
              <a:gd name="connsiteX9" fmla="*/ 2260034 w 3289788"/>
              <a:gd name="connsiteY9" fmla="*/ 3444538 h 3960812"/>
              <a:gd name="connsiteX10" fmla="*/ 2260034 w 3289788"/>
              <a:gd name="connsiteY10" fmla="*/ 3702675 h 3960812"/>
              <a:gd name="connsiteX11" fmla="*/ 2002595 w 3289788"/>
              <a:gd name="connsiteY11" fmla="*/ 3702675 h 3960812"/>
              <a:gd name="connsiteX12" fmla="*/ 2002595 w 3289788"/>
              <a:gd name="connsiteY12" fmla="*/ 3960812 h 3960812"/>
              <a:gd name="connsiteX13" fmla="*/ 0 w 3289788"/>
              <a:gd name="connsiteY13" fmla="*/ 3960812 h 3960812"/>
              <a:gd name="connsiteX14" fmla="*/ 0 w 3289788"/>
              <a:gd name="connsiteY14" fmla="*/ 1290685 h 3960812"/>
              <a:gd name="connsiteX15" fmla="*/ 257439 w 3289788"/>
              <a:gd name="connsiteY15" fmla="*/ 1290685 h 3960812"/>
              <a:gd name="connsiteX16" fmla="*/ 257439 w 3289788"/>
              <a:gd name="connsiteY16" fmla="*/ 1032548 h 3960812"/>
              <a:gd name="connsiteX17" fmla="*/ 514878 w 3289788"/>
              <a:gd name="connsiteY17" fmla="*/ 1032548 h 3960812"/>
              <a:gd name="connsiteX18" fmla="*/ 514878 w 3289788"/>
              <a:gd name="connsiteY18" fmla="*/ 774411 h 3960812"/>
              <a:gd name="connsiteX19" fmla="*/ 772317 w 3289788"/>
              <a:gd name="connsiteY19" fmla="*/ 774411 h 3960812"/>
              <a:gd name="connsiteX20" fmla="*/ 772317 w 3289788"/>
              <a:gd name="connsiteY20" fmla="*/ 516274 h 3960812"/>
              <a:gd name="connsiteX21" fmla="*/ 1029756 w 3289788"/>
              <a:gd name="connsiteY21" fmla="*/ 516274 h 3960812"/>
              <a:gd name="connsiteX22" fmla="*/ 1029756 w 3289788"/>
              <a:gd name="connsiteY22" fmla="*/ 258137 h 3960812"/>
              <a:gd name="connsiteX23" fmla="*/ 1287193 w 3289788"/>
              <a:gd name="connsiteY23" fmla="*/ 258137 h 3960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289788" h="3960812">
                <a:moveTo>
                  <a:pt x="1287193" y="0"/>
                </a:moveTo>
                <a:lnTo>
                  <a:pt x="3289788" y="0"/>
                </a:lnTo>
                <a:lnTo>
                  <a:pt x="3289788" y="2670127"/>
                </a:lnTo>
                <a:lnTo>
                  <a:pt x="3032351" y="2670127"/>
                </a:lnTo>
                <a:lnTo>
                  <a:pt x="3032351" y="2928264"/>
                </a:lnTo>
                <a:lnTo>
                  <a:pt x="2774912" y="2928264"/>
                </a:lnTo>
                <a:lnTo>
                  <a:pt x="2774912" y="3186401"/>
                </a:lnTo>
                <a:lnTo>
                  <a:pt x="2517473" y="3186401"/>
                </a:lnTo>
                <a:lnTo>
                  <a:pt x="2517473" y="3444538"/>
                </a:lnTo>
                <a:lnTo>
                  <a:pt x="2260034" y="3444538"/>
                </a:lnTo>
                <a:lnTo>
                  <a:pt x="2260034" y="3702675"/>
                </a:lnTo>
                <a:lnTo>
                  <a:pt x="2002595" y="3702675"/>
                </a:lnTo>
                <a:lnTo>
                  <a:pt x="2002595" y="3960812"/>
                </a:lnTo>
                <a:lnTo>
                  <a:pt x="0" y="3960812"/>
                </a:lnTo>
                <a:lnTo>
                  <a:pt x="0" y="1290685"/>
                </a:lnTo>
                <a:lnTo>
                  <a:pt x="257439" y="1290685"/>
                </a:lnTo>
                <a:lnTo>
                  <a:pt x="257439" y="1032548"/>
                </a:lnTo>
                <a:lnTo>
                  <a:pt x="514878" y="1032548"/>
                </a:lnTo>
                <a:lnTo>
                  <a:pt x="514878" y="774411"/>
                </a:lnTo>
                <a:lnTo>
                  <a:pt x="772317" y="774411"/>
                </a:lnTo>
                <a:lnTo>
                  <a:pt x="772317" y="516274"/>
                </a:lnTo>
                <a:lnTo>
                  <a:pt x="1029756" y="516274"/>
                </a:lnTo>
                <a:lnTo>
                  <a:pt x="1029756" y="258137"/>
                </a:lnTo>
                <a:lnTo>
                  <a:pt x="1287193" y="25813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Insert pictur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918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918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58931E8-9625-77F8-7BBF-076FE66C8C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829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094" userDrawn="1">
          <p15:clr>
            <a:srgbClr val="547EBF"/>
          </p15:clr>
        </p15:guide>
        <p15:guide id="3" orient="horz" pos="2822" userDrawn="1">
          <p15:clr>
            <a:srgbClr val="547EBF"/>
          </p15:clr>
        </p15:guide>
        <p15:guide id="4" pos="272" userDrawn="1">
          <p15:clr>
            <a:srgbClr val="547EBF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vs 2 colum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36E419C-17BE-AD5B-8270-C7760828C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42A69071-EAF2-371B-45AF-D91BB172112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799" y="1239838"/>
            <a:ext cx="1800000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43499CA-4C96-48CB-0E23-65C850A55F0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2411799" y="1239838"/>
            <a:ext cx="6300401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5195B23-4CE8-0F83-C354-D09F3255C4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CC14E36-F7C6-9ABF-11CE-4422BC5109F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CF03D68-8FE8-BC7B-6013-06EB917B650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4605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vs 1 colum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36E419C-17BE-AD5B-8270-C7760828C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42A69071-EAF2-371B-45AF-D91BB172112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67425" y="1239838"/>
            <a:ext cx="2644775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43499CA-4C96-48CB-0E23-65C850A55F0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1801" y="1239838"/>
            <a:ext cx="5454650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E3F516B-2ACE-0F0C-86DB-AFFA27054DC2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738785-29C5-511B-B330-BF0D04AE424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8741B5-C764-5AD3-6589-05D9A6F73F2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8916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vs 1 colum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36E419C-17BE-AD5B-8270-C7760828C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42A69071-EAF2-371B-45AF-D91BB172112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912200" y="1239838"/>
            <a:ext cx="1800000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43499CA-4C96-48CB-0E23-65C850A55F0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1800" y="1239838"/>
            <a:ext cx="6300401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E3F516B-2ACE-0F0C-86DB-AFFA27054DC2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738785-29C5-511B-B330-BF0D04AE424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8741B5-C764-5AD3-6589-05D9A6F73F2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38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ked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9">
            <a:extLst>
              <a:ext uri="{FF2B5EF4-FFF2-40B4-BE49-F238E27FC236}">
                <a16:creationId xmlns:a16="http://schemas.microsoft.com/office/drawing/2014/main" id="{D3168A0B-0555-C19D-DF7D-D05F787BD2E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905335" y="446286"/>
            <a:ext cx="3801078" cy="4070152"/>
          </a:xfrm>
          <a:custGeom>
            <a:avLst/>
            <a:gdLst>
              <a:gd name="connsiteX0" fmla="*/ 1155877 w 3193298"/>
              <a:gd name="connsiteY0" fmla="*/ 0 h 3419348"/>
              <a:gd name="connsiteX1" fmla="*/ 3193298 w 3193298"/>
              <a:gd name="connsiteY1" fmla="*/ 0 h 3419348"/>
              <a:gd name="connsiteX2" fmla="*/ 3193298 w 3193298"/>
              <a:gd name="connsiteY2" fmla="*/ 2420979 h 3419348"/>
              <a:gd name="connsiteX3" fmla="*/ 2964764 w 3193298"/>
              <a:gd name="connsiteY3" fmla="*/ 2420979 h 3419348"/>
              <a:gd name="connsiteX4" fmla="*/ 2964764 w 3193298"/>
              <a:gd name="connsiteY4" fmla="*/ 2623261 h 3419348"/>
              <a:gd name="connsiteX5" fmla="*/ 2736229 w 3193298"/>
              <a:gd name="connsiteY5" fmla="*/ 2623261 h 3419348"/>
              <a:gd name="connsiteX6" fmla="*/ 2736229 w 3193298"/>
              <a:gd name="connsiteY6" fmla="*/ 2818985 h 3419348"/>
              <a:gd name="connsiteX7" fmla="*/ 2501130 w 3193298"/>
              <a:gd name="connsiteY7" fmla="*/ 2818985 h 3419348"/>
              <a:gd name="connsiteX8" fmla="*/ 2501130 w 3193298"/>
              <a:gd name="connsiteY8" fmla="*/ 3021342 h 3419348"/>
              <a:gd name="connsiteX9" fmla="*/ 2272521 w 3193298"/>
              <a:gd name="connsiteY9" fmla="*/ 3021342 h 3419348"/>
              <a:gd name="connsiteX10" fmla="*/ 2272521 w 3193298"/>
              <a:gd name="connsiteY10" fmla="*/ 3223624 h 3419348"/>
              <a:gd name="connsiteX11" fmla="*/ 2043986 w 3193298"/>
              <a:gd name="connsiteY11" fmla="*/ 3223624 h 3419348"/>
              <a:gd name="connsiteX12" fmla="*/ 2043986 w 3193298"/>
              <a:gd name="connsiteY12" fmla="*/ 3419348 h 3419348"/>
              <a:gd name="connsiteX13" fmla="*/ 0 w 3193298"/>
              <a:gd name="connsiteY13" fmla="*/ 3419348 h 3419348"/>
              <a:gd name="connsiteX14" fmla="*/ 0 w 3193298"/>
              <a:gd name="connsiteY14" fmla="*/ 1004927 h 3419348"/>
              <a:gd name="connsiteX15" fmla="*/ 235099 w 3193298"/>
              <a:gd name="connsiteY15" fmla="*/ 1004927 h 3419348"/>
              <a:gd name="connsiteX16" fmla="*/ 235099 w 3193298"/>
              <a:gd name="connsiteY16" fmla="*/ 802645 h 3419348"/>
              <a:gd name="connsiteX17" fmla="*/ 463634 w 3193298"/>
              <a:gd name="connsiteY17" fmla="*/ 802645 h 3419348"/>
              <a:gd name="connsiteX18" fmla="*/ 463634 w 3193298"/>
              <a:gd name="connsiteY18" fmla="*/ 600362 h 3419348"/>
              <a:gd name="connsiteX19" fmla="*/ 692243 w 3193298"/>
              <a:gd name="connsiteY19" fmla="*/ 600362 h 3419348"/>
              <a:gd name="connsiteX20" fmla="*/ 692243 w 3193298"/>
              <a:gd name="connsiteY20" fmla="*/ 404564 h 3419348"/>
              <a:gd name="connsiteX21" fmla="*/ 920778 w 3193298"/>
              <a:gd name="connsiteY21" fmla="*/ 404564 h 3419348"/>
              <a:gd name="connsiteX22" fmla="*/ 920778 w 3193298"/>
              <a:gd name="connsiteY22" fmla="*/ 202281 h 3419348"/>
              <a:gd name="connsiteX23" fmla="*/ 1155877 w 3193298"/>
              <a:gd name="connsiteY23" fmla="*/ 202281 h 3419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193298" h="3419348">
                <a:moveTo>
                  <a:pt x="1155877" y="0"/>
                </a:moveTo>
                <a:lnTo>
                  <a:pt x="3193298" y="0"/>
                </a:lnTo>
                <a:lnTo>
                  <a:pt x="3193298" y="2420979"/>
                </a:lnTo>
                <a:lnTo>
                  <a:pt x="2964764" y="2420979"/>
                </a:lnTo>
                <a:lnTo>
                  <a:pt x="2964764" y="2623261"/>
                </a:lnTo>
                <a:lnTo>
                  <a:pt x="2736229" y="2623261"/>
                </a:lnTo>
                <a:lnTo>
                  <a:pt x="2736229" y="2818985"/>
                </a:lnTo>
                <a:lnTo>
                  <a:pt x="2501130" y="2818985"/>
                </a:lnTo>
                <a:lnTo>
                  <a:pt x="2501130" y="3021342"/>
                </a:lnTo>
                <a:lnTo>
                  <a:pt x="2272521" y="3021342"/>
                </a:lnTo>
                <a:lnTo>
                  <a:pt x="2272521" y="3223624"/>
                </a:lnTo>
                <a:lnTo>
                  <a:pt x="2043986" y="3223624"/>
                </a:lnTo>
                <a:lnTo>
                  <a:pt x="2043986" y="3419348"/>
                </a:lnTo>
                <a:lnTo>
                  <a:pt x="0" y="3419348"/>
                </a:lnTo>
                <a:lnTo>
                  <a:pt x="0" y="1004927"/>
                </a:lnTo>
                <a:lnTo>
                  <a:pt x="235099" y="1004927"/>
                </a:lnTo>
                <a:lnTo>
                  <a:pt x="235099" y="802645"/>
                </a:lnTo>
                <a:lnTo>
                  <a:pt x="463634" y="802645"/>
                </a:lnTo>
                <a:lnTo>
                  <a:pt x="463634" y="600362"/>
                </a:lnTo>
                <a:lnTo>
                  <a:pt x="692243" y="600362"/>
                </a:lnTo>
                <a:lnTo>
                  <a:pt x="692243" y="404564"/>
                </a:lnTo>
                <a:lnTo>
                  <a:pt x="920778" y="404564"/>
                </a:lnTo>
                <a:lnTo>
                  <a:pt x="920778" y="202281"/>
                </a:lnTo>
                <a:lnTo>
                  <a:pt x="1155877" y="202281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22BA005-88CE-AF23-D026-9AAABD8FB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4051300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494550A-5643-FA03-A883-2DBAD62FED8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1800" y="1239838"/>
            <a:ext cx="4051300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8F0E0EF7-F728-ACF9-4DAF-02507A53974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EE0C92D8-3688-4771-2EB7-E5978942AD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8CA4690-B355-6823-5C1B-450E64DC6E8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9579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image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BB35262-E7DC-8CEA-04A4-5FD4AD8997D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7425" y="0"/>
            <a:ext cx="3076575" cy="5143500"/>
          </a:xfrm>
          <a:solidFill>
            <a:schemeClr val="tx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EF91A03-685E-A91F-E992-9F3060FEF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5454650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FD5CB3C-1FE9-F0D8-364C-C1D813C9D4E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1800" y="1239838"/>
            <a:ext cx="5454650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A3142EEC-31D5-03B8-5CCD-950A1A71223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035B9C22-6447-F2D3-3258-E69EFAE403A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E9F3593-2AF6-50A5-6BF8-306DF4FD892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1113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image -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8D8DEF5-F1E0-654A-F1F4-1A3201DDAE2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84783" y="428626"/>
            <a:ext cx="2627313" cy="4087812"/>
          </a:xfrm>
          <a:solidFill>
            <a:schemeClr val="tx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A750EC97-798E-0CCE-656F-D590BA7C5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24597A9-C0B4-7EA4-9E06-263DA9D834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1800" y="1239838"/>
            <a:ext cx="5454650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9B89C0E1-94EA-B182-FC6B-2B31EDB4F77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EA5D0958-F709-85CC-5F28-5C37E907F1B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368C3250-B02B-099F-E9FB-3EBD124FFB6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6376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age -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8D8DEF5-F1E0-654A-F1F4-1A3201DDAE2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1800" y="428624"/>
            <a:ext cx="2627313" cy="4087813"/>
          </a:xfrm>
          <a:solidFill>
            <a:schemeClr val="tx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AC5CEB81-17E2-A76F-349F-9107B9EAA5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88" y="428625"/>
            <a:ext cx="5472112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CC50047-824E-09AB-3A7B-C7116E9FF95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240088" y="1239838"/>
            <a:ext cx="5472112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D8C265C5-A8C5-FC51-48BA-FB2B527ED3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0FF7712D-A0E6-8935-0902-5685204BDFE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D6343E77-BEA8-0AAC-5BC6-880EBBD829A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04005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image - extra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73B5B08-F499-CEEF-6D82-9A22E374BD9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240089" y="0"/>
            <a:ext cx="5903912" cy="5143500"/>
          </a:xfrm>
          <a:solidFill>
            <a:schemeClr val="tx1">
              <a:lumMod val="85000"/>
            </a:schemeClr>
          </a:solidFill>
        </p:spPr>
        <p:txBody>
          <a:bodyPr tIns="180000" anchor="t" anchorCtr="1">
            <a:norm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A8C2371-95DB-A5FC-F16F-AE205C86D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2627313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CC32CF2E-C3BC-9887-D9D5-B11908277EA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1800" y="1239838"/>
            <a:ext cx="2627313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58C6B807-4F7E-F6C0-B9E1-5400E9E08E8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4B6078A1-E8F2-7E90-7C4D-44601B5D9CE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A255E3EB-FCAF-00F8-3267-FEBE102F4CF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403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image - extra lar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73B5B08-F499-CEEF-6D82-9A22E374BD9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240089" y="428625"/>
            <a:ext cx="5472111" cy="4087814"/>
          </a:xfrm>
          <a:solidFill>
            <a:schemeClr val="tx1">
              <a:lumMod val="85000"/>
            </a:schemeClr>
          </a:solidFill>
        </p:spPr>
        <p:txBody>
          <a:bodyPr tIns="180000" anchor="t" anchorCtr="1">
            <a:norm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A8C2371-95DB-A5FC-F16F-AE205C86D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2627313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CC32CF2E-C3BC-9887-D9D5-B11908277EA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1800" y="1239838"/>
            <a:ext cx="2627313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CC39BBC-394F-3025-AE20-6D850FF127E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9C4EF8-986C-0F8F-1427-3C9010CAC8D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CC431A-E416-24FB-9081-8575777B0F4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5007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09ECE5E-5953-C51A-A944-AFD82EE603F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240088" y="430212"/>
            <a:ext cx="5472112" cy="40862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10A3DBE-718E-46DD-01BD-968AF8BC1C2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1800" y="1239838"/>
            <a:ext cx="2627313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D21D6468-B655-C8C3-928E-09FE78A483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2627313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50313728-DF53-AECA-6F9B-733F13A582D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9E795482-8D98-C471-8860-9030371DF24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43AD9BC-16F2-A54C-21EC-550EAA71F2F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0609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ogo Cover -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918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918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sp>
        <p:nvSpPr>
          <p:cNvPr id="2" name="Picture Placeholder 48">
            <a:extLst>
              <a:ext uri="{FF2B5EF4-FFF2-40B4-BE49-F238E27FC236}">
                <a16:creationId xmlns:a16="http://schemas.microsoft.com/office/drawing/2014/main" id="{A7551421-354E-1441-AEFF-FA5F95FCD9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935426" y="626385"/>
            <a:ext cx="3770985" cy="3709078"/>
          </a:xfrm>
          <a:custGeom>
            <a:avLst/>
            <a:gdLst>
              <a:gd name="connsiteX0" fmla="*/ 446456 w 3478814"/>
              <a:gd name="connsiteY0" fmla="*/ 2633052 h 3421704"/>
              <a:gd name="connsiteX1" fmla="*/ 3033202 w 3478814"/>
              <a:gd name="connsiteY1" fmla="*/ 2633052 h 3421704"/>
              <a:gd name="connsiteX2" fmla="*/ 3478814 w 3478814"/>
              <a:gd name="connsiteY2" fmla="*/ 3421704 h 3421704"/>
              <a:gd name="connsiteX3" fmla="*/ 0 w 3478814"/>
              <a:gd name="connsiteY3" fmla="*/ 3421704 h 3421704"/>
              <a:gd name="connsiteX4" fmla="*/ 446456 w 3478814"/>
              <a:gd name="connsiteY4" fmla="*/ 1755087 h 3421704"/>
              <a:gd name="connsiteX5" fmla="*/ 3033202 w 3478814"/>
              <a:gd name="connsiteY5" fmla="*/ 1755087 h 3421704"/>
              <a:gd name="connsiteX6" fmla="*/ 3478814 w 3478814"/>
              <a:gd name="connsiteY6" fmla="*/ 2543739 h 3421704"/>
              <a:gd name="connsiteX7" fmla="*/ 0 w 3478814"/>
              <a:gd name="connsiteY7" fmla="*/ 2543739 h 3421704"/>
              <a:gd name="connsiteX8" fmla="*/ 446456 w 3478814"/>
              <a:gd name="connsiteY8" fmla="*/ 877965 h 3421704"/>
              <a:gd name="connsiteX9" fmla="*/ 3033202 w 3478814"/>
              <a:gd name="connsiteY9" fmla="*/ 877965 h 3421704"/>
              <a:gd name="connsiteX10" fmla="*/ 3478814 w 3478814"/>
              <a:gd name="connsiteY10" fmla="*/ 1666617 h 3421704"/>
              <a:gd name="connsiteX11" fmla="*/ 0 w 3478814"/>
              <a:gd name="connsiteY11" fmla="*/ 1666617 h 3421704"/>
              <a:gd name="connsiteX12" fmla="*/ 446456 w 3478814"/>
              <a:gd name="connsiteY12" fmla="*/ 0 h 3421704"/>
              <a:gd name="connsiteX13" fmla="*/ 3033202 w 3478814"/>
              <a:gd name="connsiteY13" fmla="*/ 0 h 3421704"/>
              <a:gd name="connsiteX14" fmla="*/ 3478814 w 3478814"/>
              <a:gd name="connsiteY14" fmla="*/ 788652 h 3421704"/>
              <a:gd name="connsiteX15" fmla="*/ 0 w 3478814"/>
              <a:gd name="connsiteY15" fmla="*/ 788652 h 3421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78814" h="3421704">
                <a:moveTo>
                  <a:pt x="446456" y="2633052"/>
                </a:moveTo>
                <a:lnTo>
                  <a:pt x="3033202" y="2633052"/>
                </a:lnTo>
                <a:lnTo>
                  <a:pt x="3478814" y="3421704"/>
                </a:lnTo>
                <a:lnTo>
                  <a:pt x="0" y="3421704"/>
                </a:lnTo>
                <a:close/>
                <a:moveTo>
                  <a:pt x="446456" y="1755087"/>
                </a:moveTo>
                <a:lnTo>
                  <a:pt x="3033202" y="1755087"/>
                </a:lnTo>
                <a:lnTo>
                  <a:pt x="3478814" y="2543739"/>
                </a:lnTo>
                <a:lnTo>
                  <a:pt x="0" y="2543739"/>
                </a:lnTo>
                <a:close/>
                <a:moveTo>
                  <a:pt x="446456" y="877965"/>
                </a:moveTo>
                <a:lnTo>
                  <a:pt x="3033202" y="877965"/>
                </a:lnTo>
                <a:lnTo>
                  <a:pt x="3478814" y="1666617"/>
                </a:lnTo>
                <a:lnTo>
                  <a:pt x="0" y="1666617"/>
                </a:lnTo>
                <a:close/>
                <a:moveTo>
                  <a:pt x="446456" y="0"/>
                </a:moveTo>
                <a:lnTo>
                  <a:pt x="3033202" y="0"/>
                </a:lnTo>
                <a:lnTo>
                  <a:pt x="3478814" y="788652"/>
                </a:lnTo>
                <a:lnTo>
                  <a:pt x="0" y="78865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algn="ctr"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ED9150D-1613-F146-E32A-0CB05393DF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338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822" userDrawn="1">
          <p15:clr>
            <a:srgbClr val="547EBF"/>
          </p15:clr>
        </p15:guide>
        <p15:guide id="3" orient="horz" pos="3094" userDrawn="1">
          <p15:clr>
            <a:srgbClr val="547EBF"/>
          </p15:clr>
        </p15:guide>
        <p15:guide id="4" pos="272" userDrawn="1">
          <p15:clr>
            <a:srgbClr val="547EBF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Information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D9FE8A-9E17-6752-19CF-8AE3064712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4051300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2756C61-4B2E-3294-86A7-AC5D31BCF86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800" y="1239838"/>
            <a:ext cx="4051300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13B6BDA0-EAC4-4EBF-6B51-53817562ECA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660900" y="428624"/>
            <a:ext cx="4051300" cy="408781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91C55DC-AC33-2AA4-E244-53F3A9E330A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68FC04D8-6C07-234C-DDA0-50FB2590157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FE29179E-18DA-45B0-D48D-DF3ABFC4B74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1839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One Speak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9E93CBA7-2AB7-4088-D21F-9E3972EBDD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CF152DA-058C-054C-07DB-EE09BACC6C7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12523" y="463215"/>
            <a:ext cx="3027600" cy="4042800"/>
          </a:xfrm>
          <a:solidFill>
            <a:schemeClr val="tx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B364C33-A413-514B-F605-A7357766877F}"/>
              </a:ext>
            </a:extLst>
          </p:cNvPr>
          <p:cNvSpPr>
            <a:spLocks noGrp="1"/>
          </p:cNvSpPr>
          <p:nvPr>
            <p:ph type="body" sz="half" idx="15" hasCustomPrompt="1"/>
          </p:nvPr>
        </p:nvSpPr>
        <p:spPr>
          <a:xfrm>
            <a:off x="431800" y="3090440"/>
            <a:ext cx="2628000" cy="1425997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Aft>
                <a:spcPts val="120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None/>
              <a:defRPr sz="1100">
                <a:solidFill>
                  <a:schemeClr val="tx1"/>
                </a:solidFill>
              </a:defRPr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6AD11AB-D473-6C67-57B3-FF5B6FFF1C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239838"/>
            <a:ext cx="2627113" cy="16079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C58CEB-295F-D247-0101-C871FB7E65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11163"/>
            <a:ext cx="4051100" cy="647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AC8C52B6-FF52-78EC-3370-6EA5EA221F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4717794"/>
            <a:ext cx="931863" cy="128588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79CE7D-266F-175A-F041-E50AD7CB7B9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9BE6BA8-F680-BC9C-E465-2733A6260E3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1C6DDD-3AF4-3F82-A267-CF6E338A602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3941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One Speaker Grap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50B8364-FFC6-CA73-8368-A499D783F9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6674"/>
            <a:ext cx="9144000" cy="5143500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CF152DA-058C-054C-07DB-EE09BACC6C7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12523" y="463215"/>
            <a:ext cx="3027600" cy="4042800"/>
          </a:xfrm>
          <a:solidFill>
            <a:schemeClr val="tx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B364C33-A413-514B-F605-A7357766877F}"/>
              </a:ext>
            </a:extLst>
          </p:cNvPr>
          <p:cNvSpPr>
            <a:spLocks noGrp="1"/>
          </p:cNvSpPr>
          <p:nvPr>
            <p:ph type="body" sz="half" idx="15" hasCustomPrompt="1"/>
          </p:nvPr>
        </p:nvSpPr>
        <p:spPr>
          <a:xfrm>
            <a:off x="431800" y="3090440"/>
            <a:ext cx="2628000" cy="1425997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Aft>
                <a:spcPts val="120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None/>
              <a:defRPr sz="1100">
                <a:solidFill>
                  <a:schemeClr val="tx1"/>
                </a:solidFill>
              </a:defRPr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6AD11AB-D473-6C67-57B3-FF5B6FFF1C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239838"/>
            <a:ext cx="2627113" cy="16079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3122524-CBD6-B34E-F711-00A450DCC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11163"/>
            <a:ext cx="4051100" cy="647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42103A1-C19B-4710-BF23-05B8E8E95A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4717794"/>
            <a:ext cx="931863" cy="128588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2614AF4-3592-861D-97B8-EE9E3C7DED6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07A4CF8-F77D-D771-5286-A766FA670BB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AC8B51C-9E9B-5ED5-1F72-83172617D20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8331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One Speaker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25D3D1B-E3D3-AB1B-D143-10AF747C55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CF152DA-058C-054C-07DB-EE09BACC6C7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12523" y="463215"/>
            <a:ext cx="3027600" cy="4042800"/>
          </a:xfrm>
          <a:solidFill>
            <a:schemeClr val="tx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B364C33-A413-514B-F605-A7357766877F}"/>
              </a:ext>
            </a:extLst>
          </p:cNvPr>
          <p:cNvSpPr>
            <a:spLocks noGrp="1"/>
          </p:cNvSpPr>
          <p:nvPr>
            <p:ph type="body" sz="half" idx="15" hasCustomPrompt="1"/>
          </p:nvPr>
        </p:nvSpPr>
        <p:spPr>
          <a:xfrm>
            <a:off x="431800" y="3090440"/>
            <a:ext cx="2628000" cy="1425997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Aft>
                <a:spcPts val="120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None/>
              <a:defRPr sz="1100">
                <a:solidFill>
                  <a:schemeClr val="tx1"/>
                </a:solidFill>
              </a:defRPr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6AD11AB-D473-6C67-57B3-FF5B6FFF1C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239838"/>
            <a:ext cx="2627113" cy="16079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CB2935-FAD1-1791-D5B8-44B3A222C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11163"/>
            <a:ext cx="4051100" cy="647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ACDC90DA-242A-7E08-23F5-78BEC3FA94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4717794"/>
            <a:ext cx="931863" cy="128588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FBD1974-02AE-680E-A038-2C5F9C804B9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FD34A61-54A2-00C2-E7EC-DBA984C8D76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7D1CFED-4A28-21C9-319E-8E08AD661A2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7376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heading only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5166038-EB60-1A49-6801-6DA719F29B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402" y="1599406"/>
            <a:ext cx="4051300" cy="1944688"/>
          </a:xfrm>
        </p:spPr>
        <p:txBody>
          <a:bodyPr anchor="ctr"/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" name="Picture Placeholder 29">
            <a:extLst>
              <a:ext uri="{FF2B5EF4-FFF2-40B4-BE49-F238E27FC236}">
                <a16:creationId xmlns:a16="http://schemas.microsoft.com/office/drawing/2014/main" id="{32382752-6AAC-4C49-57BC-B5DC63F6788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657421" y="-724432"/>
            <a:ext cx="2323309" cy="3097745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7" name="Picture Placeholder 29">
            <a:extLst>
              <a:ext uri="{FF2B5EF4-FFF2-40B4-BE49-F238E27FC236}">
                <a16:creationId xmlns:a16="http://schemas.microsoft.com/office/drawing/2014/main" id="{5F8681D4-5943-149A-AB68-476E4D76F83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003715" y="-295807"/>
            <a:ext cx="2323309" cy="3097745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8" name="Picture Placeholder 29">
            <a:extLst>
              <a:ext uri="{FF2B5EF4-FFF2-40B4-BE49-F238E27FC236}">
                <a16:creationId xmlns:a16="http://schemas.microsoft.com/office/drawing/2014/main" id="{379CE92C-4017-4178-B601-ADE20527D2F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350009" y="132818"/>
            <a:ext cx="2323309" cy="3097745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9" name="Picture Placeholder 29">
            <a:extLst>
              <a:ext uri="{FF2B5EF4-FFF2-40B4-BE49-F238E27FC236}">
                <a16:creationId xmlns:a16="http://schemas.microsoft.com/office/drawing/2014/main" id="{A218E014-B1A2-A155-EDC6-037D40F8388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696303" y="561443"/>
            <a:ext cx="2323309" cy="3097745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3" name="Picture Placeholder 29">
            <a:extLst>
              <a:ext uri="{FF2B5EF4-FFF2-40B4-BE49-F238E27FC236}">
                <a16:creationId xmlns:a16="http://schemas.microsoft.com/office/drawing/2014/main" id="{E9C5E5A2-3DA7-6FA5-ADB2-6D441CC461F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42597" y="990068"/>
            <a:ext cx="2323309" cy="3097745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5" name="Picture Placeholder 29">
            <a:extLst>
              <a:ext uri="{FF2B5EF4-FFF2-40B4-BE49-F238E27FC236}">
                <a16:creationId xmlns:a16="http://schemas.microsoft.com/office/drawing/2014/main" id="{B9FF9038-CC52-0DA2-647C-5DB82FFC4E5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8891" y="1418693"/>
            <a:ext cx="2323309" cy="3097745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757AB831-E309-E2A9-1162-A07B0ADCEBE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69F1CAA-1970-E0D8-E4F9-E75BF3DE9C6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6CB7459C-BD5D-8559-0442-D6E473598DC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5292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1043">
          <p15:clr>
            <a:srgbClr val="FBAE40"/>
          </p15:clr>
        </p15:guide>
        <p15:guide id="3" pos="1791">
          <p15:clr>
            <a:srgbClr val="FBAE40"/>
          </p15:clr>
        </p15:guide>
        <p15:guide id="4" orient="horz" pos="2845" userDrawn="1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heading only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60">
            <a:extLst>
              <a:ext uri="{FF2B5EF4-FFF2-40B4-BE49-F238E27FC236}">
                <a16:creationId xmlns:a16="http://schemas.microsoft.com/office/drawing/2014/main" id="{2CDC2CA3-D176-F048-3B40-1D07CB40FF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56114" y="930150"/>
            <a:ext cx="1288800" cy="3283200"/>
          </a:xfrm>
          <a:custGeom>
            <a:avLst/>
            <a:gdLst>
              <a:gd name="connsiteX0" fmla="*/ 1288800 w 1288800"/>
              <a:gd name="connsiteY0" fmla="*/ 0 h 3283200"/>
              <a:gd name="connsiteX1" fmla="*/ 1288800 w 1288800"/>
              <a:gd name="connsiteY1" fmla="*/ 3283200 h 3283200"/>
              <a:gd name="connsiteX2" fmla="*/ 679913 w 1288800"/>
              <a:gd name="connsiteY2" fmla="*/ 2862614 h 3283200"/>
              <a:gd name="connsiteX3" fmla="*/ 679913 w 1288800"/>
              <a:gd name="connsiteY3" fmla="*/ 420588 h 3283200"/>
              <a:gd name="connsiteX4" fmla="*/ 608888 w 1288800"/>
              <a:gd name="connsiteY4" fmla="*/ 0 h 3283200"/>
              <a:gd name="connsiteX5" fmla="*/ 608888 w 1288800"/>
              <a:gd name="connsiteY5" fmla="*/ 3283200 h 3283200"/>
              <a:gd name="connsiteX6" fmla="*/ 0 w 1288800"/>
              <a:gd name="connsiteY6" fmla="*/ 2862614 h 3283200"/>
              <a:gd name="connsiteX7" fmla="*/ 0 w 1288800"/>
              <a:gd name="connsiteY7" fmla="*/ 420588 h 328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8800" h="3283200">
                <a:moveTo>
                  <a:pt x="1288800" y="0"/>
                </a:moveTo>
                <a:lnTo>
                  <a:pt x="1288800" y="3283200"/>
                </a:lnTo>
                <a:lnTo>
                  <a:pt x="679913" y="2862614"/>
                </a:lnTo>
                <a:lnTo>
                  <a:pt x="679913" y="420588"/>
                </a:lnTo>
                <a:close/>
                <a:moveTo>
                  <a:pt x="608888" y="0"/>
                </a:moveTo>
                <a:lnTo>
                  <a:pt x="608888" y="3283200"/>
                </a:lnTo>
                <a:lnTo>
                  <a:pt x="0" y="2862614"/>
                </a:lnTo>
                <a:lnTo>
                  <a:pt x="0" y="420588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5166038-EB60-1A49-6801-6DA719F29B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402" y="1599406"/>
            <a:ext cx="4051300" cy="1944688"/>
          </a:xfrm>
        </p:spPr>
        <p:txBody>
          <a:bodyPr anchor="ctr"/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2" name="Picture Placeholder 61">
            <a:extLst>
              <a:ext uri="{FF2B5EF4-FFF2-40B4-BE49-F238E27FC236}">
                <a16:creationId xmlns:a16="http://schemas.microsoft.com/office/drawing/2014/main" id="{3DE3BFB5-899E-1535-8CE4-BAA8259800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45956" y="930150"/>
            <a:ext cx="1288800" cy="3283200"/>
          </a:xfrm>
          <a:custGeom>
            <a:avLst/>
            <a:gdLst>
              <a:gd name="connsiteX0" fmla="*/ 1288800 w 1288800"/>
              <a:gd name="connsiteY0" fmla="*/ 0 h 3283200"/>
              <a:gd name="connsiteX1" fmla="*/ 1288800 w 1288800"/>
              <a:gd name="connsiteY1" fmla="*/ 3283200 h 3283200"/>
              <a:gd name="connsiteX2" fmla="*/ 679913 w 1288800"/>
              <a:gd name="connsiteY2" fmla="*/ 2862614 h 3283200"/>
              <a:gd name="connsiteX3" fmla="*/ 679913 w 1288800"/>
              <a:gd name="connsiteY3" fmla="*/ 420588 h 3283200"/>
              <a:gd name="connsiteX4" fmla="*/ 608888 w 1288800"/>
              <a:gd name="connsiteY4" fmla="*/ 0 h 3283200"/>
              <a:gd name="connsiteX5" fmla="*/ 608888 w 1288800"/>
              <a:gd name="connsiteY5" fmla="*/ 3283200 h 3283200"/>
              <a:gd name="connsiteX6" fmla="*/ 0 w 1288800"/>
              <a:gd name="connsiteY6" fmla="*/ 2862614 h 3283200"/>
              <a:gd name="connsiteX7" fmla="*/ 0 w 1288800"/>
              <a:gd name="connsiteY7" fmla="*/ 420588 h 328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8800" h="3283200">
                <a:moveTo>
                  <a:pt x="1288800" y="0"/>
                </a:moveTo>
                <a:lnTo>
                  <a:pt x="1288800" y="3283200"/>
                </a:lnTo>
                <a:lnTo>
                  <a:pt x="679913" y="2862614"/>
                </a:lnTo>
                <a:lnTo>
                  <a:pt x="679913" y="420588"/>
                </a:lnTo>
                <a:close/>
                <a:moveTo>
                  <a:pt x="608888" y="0"/>
                </a:moveTo>
                <a:lnTo>
                  <a:pt x="608888" y="3283200"/>
                </a:lnTo>
                <a:lnTo>
                  <a:pt x="0" y="2862614"/>
                </a:lnTo>
                <a:lnTo>
                  <a:pt x="0" y="420588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63" name="Picture Placeholder 62">
            <a:extLst>
              <a:ext uri="{FF2B5EF4-FFF2-40B4-BE49-F238E27FC236}">
                <a16:creationId xmlns:a16="http://schemas.microsoft.com/office/drawing/2014/main" id="{83D36DA0-8155-A164-37F4-6DADEA5EF59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435798" y="930150"/>
            <a:ext cx="1288800" cy="3283200"/>
          </a:xfrm>
          <a:custGeom>
            <a:avLst/>
            <a:gdLst>
              <a:gd name="connsiteX0" fmla="*/ 1288800 w 1288800"/>
              <a:gd name="connsiteY0" fmla="*/ 0 h 3283200"/>
              <a:gd name="connsiteX1" fmla="*/ 1288800 w 1288800"/>
              <a:gd name="connsiteY1" fmla="*/ 3283200 h 3283200"/>
              <a:gd name="connsiteX2" fmla="*/ 679913 w 1288800"/>
              <a:gd name="connsiteY2" fmla="*/ 2862614 h 3283200"/>
              <a:gd name="connsiteX3" fmla="*/ 679913 w 1288800"/>
              <a:gd name="connsiteY3" fmla="*/ 420588 h 3283200"/>
              <a:gd name="connsiteX4" fmla="*/ 608888 w 1288800"/>
              <a:gd name="connsiteY4" fmla="*/ 0 h 3283200"/>
              <a:gd name="connsiteX5" fmla="*/ 608888 w 1288800"/>
              <a:gd name="connsiteY5" fmla="*/ 3283200 h 3283200"/>
              <a:gd name="connsiteX6" fmla="*/ 0 w 1288800"/>
              <a:gd name="connsiteY6" fmla="*/ 2862614 h 3283200"/>
              <a:gd name="connsiteX7" fmla="*/ 0 w 1288800"/>
              <a:gd name="connsiteY7" fmla="*/ 420588 h 328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8800" h="3283200">
                <a:moveTo>
                  <a:pt x="1288800" y="0"/>
                </a:moveTo>
                <a:lnTo>
                  <a:pt x="1288800" y="3283200"/>
                </a:lnTo>
                <a:lnTo>
                  <a:pt x="679913" y="2862614"/>
                </a:lnTo>
                <a:lnTo>
                  <a:pt x="679913" y="420588"/>
                </a:lnTo>
                <a:close/>
                <a:moveTo>
                  <a:pt x="608888" y="0"/>
                </a:moveTo>
                <a:lnTo>
                  <a:pt x="608888" y="3283200"/>
                </a:lnTo>
                <a:lnTo>
                  <a:pt x="0" y="2862614"/>
                </a:lnTo>
                <a:lnTo>
                  <a:pt x="0" y="420588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64" name="Date Placeholder 63">
            <a:extLst>
              <a:ext uri="{FF2B5EF4-FFF2-40B4-BE49-F238E27FC236}">
                <a16:creationId xmlns:a16="http://schemas.microsoft.com/office/drawing/2014/main" id="{F014DD11-2B27-F8D6-DEFE-C1403A9A5BC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5" name="Footer Placeholder 64">
            <a:extLst>
              <a:ext uri="{FF2B5EF4-FFF2-40B4-BE49-F238E27FC236}">
                <a16:creationId xmlns:a16="http://schemas.microsoft.com/office/drawing/2014/main" id="{488391DB-10E0-47B1-01B7-AE92CDCA13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6" name="Slide Number Placeholder 65">
            <a:extLst>
              <a:ext uri="{FF2B5EF4-FFF2-40B4-BE49-F238E27FC236}">
                <a16:creationId xmlns:a16="http://schemas.microsoft.com/office/drawing/2014/main" id="{B9F156C1-7703-1CFD-3B04-34BE83A08F2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8842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1043">
          <p15:clr>
            <a:srgbClr val="FBAE40"/>
          </p15:clr>
        </p15:guide>
        <p15:guide id="3" pos="1791">
          <p15:clr>
            <a:srgbClr val="FBAE40"/>
          </p15:clr>
        </p15:guide>
        <p15:guide id="4" orient="horz" pos="2845" userDrawn="1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23D22629-AACC-C893-6943-13D0F102FD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84887" y="430213"/>
            <a:ext cx="2628000" cy="2412000"/>
          </a:xfrm>
          <a:solidFill>
            <a:schemeClr val="tx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2C327A-2719-4897-2E0E-132CA0C33E2D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6084887" y="3090441"/>
            <a:ext cx="2628000" cy="1389484"/>
          </a:xfrm>
        </p:spPr>
        <p:txBody>
          <a:bodyPr/>
          <a:lstStyle>
            <a:lvl1pPr marL="0" indent="0">
              <a:buNone/>
              <a:defRPr sz="1600"/>
            </a:lvl1pPr>
            <a:lvl2pPr marL="0" indent="0">
              <a:buNone/>
              <a:defRPr sz="1400" b="1"/>
            </a:lvl2pPr>
            <a:lvl3pPr marL="0" indent="0">
              <a:spcAft>
                <a:spcPts val="1200"/>
              </a:spcAft>
              <a:buNone/>
              <a:defRPr sz="1400"/>
            </a:lvl3pPr>
            <a:lvl4pPr marL="0" indent="0">
              <a:buNone/>
              <a:defRPr sz="11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FF65693-F1FD-4BAE-0382-AD4943C7E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5454650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01D11CE8-9FF0-8FB3-3EA4-F2FD11B4C05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800" y="1239837"/>
            <a:ext cx="5454650" cy="327660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F736CA55-88EC-8ED2-B2A1-C02176A6F5E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7B72FD2F-D520-3B33-E031-262D1C6952C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D92194F8-4608-CA2B-F7A6-FAE21308D5E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4629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F94955A-6C35-0A99-3112-4B2335D735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49613" y="430213"/>
            <a:ext cx="2628000" cy="2412000"/>
          </a:xfrm>
          <a:solidFill>
            <a:schemeClr val="tx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23D22629-AACC-C893-6943-13D0F102FD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84887" y="430213"/>
            <a:ext cx="2628000" cy="2412000"/>
          </a:xfrm>
          <a:solidFill>
            <a:schemeClr val="tx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F7518CB2-BCC0-67CE-C411-8E5B94AD77A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249613" y="3090441"/>
            <a:ext cx="2628000" cy="1389484"/>
          </a:xfrm>
        </p:spPr>
        <p:txBody>
          <a:bodyPr/>
          <a:lstStyle>
            <a:lvl1pPr marL="0" indent="0">
              <a:buNone/>
              <a:defRPr sz="1600"/>
            </a:lvl1pPr>
            <a:lvl2pPr marL="0" indent="0">
              <a:buNone/>
              <a:defRPr sz="1400" b="1"/>
            </a:lvl2pPr>
            <a:lvl3pPr marL="0" indent="0">
              <a:spcAft>
                <a:spcPts val="1200"/>
              </a:spcAft>
              <a:buNone/>
              <a:defRPr sz="1400"/>
            </a:lvl3pPr>
            <a:lvl4pPr marL="0" indent="0">
              <a:buNone/>
              <a:defRPr sz="11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19B357C-3E5E-AC89-0543-249DE97A476D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6084887" y="3090441"/>
            <a:ext cx="2628000" cy="1389484"/>
          </a:xfrm>
        </p:spPr>
        <p:txBody>
          <a:bodyPr/>
          <a:lstStyle>
            <a:lvl1pPr marL="0" indent="0">
              <a:buNone/>
              <a:defRPr sz="1600"/>
            </a:lvl1pPr>
            <a:lvl2pPr marL="0" indent="0">
              <a:buNone/>
              <a:defRPr sz="1400" b="1"/>
            </a:lvl2pPr>
            <a:lvl3pPr marL="0" indent="0">
              <a:spcAft>
                <a:spcPts val="1200"/>
              </a:spcAft>
              <a:buNone/>
              <a:defRPr sz="1400"/>
            </a:lvl3pPr>
            <a:lvl4pPr marL="0" indent="0">
              <a:buNone/>
              <a:defRPr sz="11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8F38859-D1C1-4D86-C9FE-6CBBF5FE2C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2627313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28C83DB3-DFEC-7527-9A0E-57629B10AB0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800" y="1239838"/>
            <a:ext cx="2627313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2808ACBE-00C7-A2CE-D429-1D7F0FE8845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06AC1E29-1D0A-50AE-1153-91C38BD0D56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82EB3F2-FC23-6612-0C05-7AB4771415A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6331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el_less than 4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23D22629-AACC-C893-6943-13D0F102FD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54375" y="1605101"/>
            <a:ext cx="1211263" cy="1111708"/>
          </a:xfrm>
          <a:solidFill>
            <a:schemeClr val="tx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427DA08C-177E-F04B-9C15-E22EE085739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69896" y="1610744"/>
            <a:ext cx="1211263" cy="1111708"/>
          </a:xfrm>
          <a:solidFill>
            <a:schemeClr val="tx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AD3CEEB-B614-A1A5-E4A5-8885178F22E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85417" y="1610744"/>
            <a:ext cx="1211263" cy="1111708"/>
          </a:xfrm>
          <a:solidFill>
            <a:schemeClr val="tx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45019459-9679-8F48-4E11-4A53DEFBCCC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500937" y="1610744"/>
            <a:ext cx="1211263" cy="1111708"/>
          </a:xfrm>
          <a:solidFill>
            <a:schemeClr val="tx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99B1EB15-2AA1-BE6A-7606-2A7D7BF583C6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3254375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E7E1F67-D5C5-475D-37A8-F97AEBEE3A46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4669896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98E11567-E32A-37C4-605A-FF3FCECC8BF4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6085417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2FDB62B-15C5-9CCB-B3CB-6247CEE74FA5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7500937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5F49F8C-FE74-7B8A-BC5B-3C4549BA8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F1AE56F-FC2F-8B1A-D55F-425120F131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54375" y="1239838"/>
            <a:ext cx="5457825" cy="245772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add panel or speaker heading</a:t>
            </a:r>
            <a:endParaRPr lang="en-US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D9FBC734-062E-6F41-5510-2CB5A0DB84E8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31800" y="1239838"/>
            <a:ext cx="2627313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049F9C5E-D7AA-0F02-070D-96D053FF4F8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D0CCDC90-CA2A-C50E-AEE0-5C354AEF7C28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376E706A-0FF9-DA8F-0C2D-C96D54DF6E9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7604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el_more than 4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AFCC1184-3DE3-8F04-8CF9-D417F31A39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54375" y="1239838"/>
            <a:ext cx="5457825" cy="245772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add panel or speaker heading</a:t>
            </a:r>
            <a:endParaRPr lang="en-US"/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D31B236C-C114-3190-6B06-C940190626EC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3254375" y="3110092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CCBB9E89-9D54-5D73-94A9-4B95AE1C1FE0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4669896" y="3110092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95B97352-951E-E924-1917-DAEE22D9ACBE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6085417" y="3110092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A917C1FE-213A-643B-4405-AC952A023E6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7500937" y="3110092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90A86B70-8AC4-FCB6-685C-7DD07A274E8F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3254175" y="1599687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7D7C14DD-407D-07C6-497A-DC3E1DB28826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4669696" y="1599687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E5137970-C136-1740-8D23-BDE74EAEC6A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6085217" y="1599687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03515153-C382-A4AA-2B1A-9E667578CF2B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7500737" y="1599687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0B3E7B-8BAA-177B-DE7F-D25E430802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1999"/>
            <a:ext cx="8280000" cy="6268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14">
            <a:extLst>
              <a:ext uri="{FF2B5EF4-FFF2-40B4-BE49-F238E27FC236}">
                <a16:creationId xmlns:a16="http://schemas.microsoft.com/office/drawing/2014/main" id="{A7327519-CC28-0210-A08B-69220EBD604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31800" y="1239838"/>
            <a:ext cx="2627313" cy="3276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F782F27-CD1B-085F-D3C8-3BD958B4537D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CDB4F78-E25E-96F8-CD0D-3226BF34198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7CB2D31-FFE8-1331-2AF3-7022EB9F7FBB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1333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ogo Cover -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918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918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sp>
        <p:nvSpPr>
          <p:cNvPr id="3" name="Picture Placeholder 19">
            <a:extLst>
              <a:ext uri="{FF2B5EF4-FFF2-40B4-BE49-F238E27FC236}">
                <a16:creationId xmlns:a16="http://schemas.microsoft.com/office/drawing/2014/main" id="{225CEF58-569D-9BFC-90A5-8CD7AAA050F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028600" y="411164"/>
            <a:ext cx="3682128" cy="3924299"/>
          </a:xfrm>
          <a:custGeom>
            <a:avLst/>
            <a:gdLst>
              <a:gd name="connsiteX0" fmla="*/ 0 w 4171131"/>
              <a:gd name="connsiteY0" fmla="*/ 1 h 4445464"/>
              <a:gd name="connsiteX1" fmla="*/ 943908 w 4171131"/>
              <a:gd name="connsiteY1" fmla="*/ 569527 h 4445464"/>
              <a:gd name="connsiteX2" fmla="*/ 943908 w 4171131"/>
              <a:gd name="connsiteY2" fmla="*/ 3875937 h 4445464"/>
              <a:gd name="connsiteX3" fmla="*/ 0 w 4171131"/>
              <a:gd name="connsiteY3" fmla="*/ 4445464 h 4445464"/>
              <a:gd name="connsiteX4" fmla="*/ 3227322 w 4171131"/>
              <a:gd name="connsiteY4" fmla="*/ 0 h 4445464"/>
              <a:gd name="connsiteX5" fmla="*/ 4171131 w 4171131"/>
              <a:gd name="connsiteY5" fmla="*/ 569527 h 4445464"/>
              <a:gd name="connsiteX6" fmla="*/ 4171131 w 4171131"/>
              <a:gd name="connsiteY6" fmla="*/ 3875937 h 4445464"/>
              <a:gd name="connsiteX7" fmla="*/ 3227322 w 4171131"/>
              <a:gd name="connsiteY7" fmla="*/ 4445464 h 4445464"/>
              <a:gd name="connsiteX8" fmla="*/ 2131400 w 4171131"/>
              <a:gd name="connsiteY8" fmla="*/ 0 h 4445464"/>
              <a:gd name="connsiteX9" fmla="*/ 3105631 w 4171131"/>
              <a:gd name="connsiteY9" fmla="*/ 569527 h 4445464"/>
              <a:gd name="connsiteX10" fmla="*/ 3105631 w 4171131"/>
              <a:gd name="connsiteY10" fmla="*/ 3875937 h 4445464"/>
              <a:gd name="connsiteX11" fmla="*/ 2131400 w 4171131"/>
              <a:gd name="connsiteY11" fmla="*/ 4445464 h 4445464"/>
              <a:gd name="connsiteX12" fmla="*/ 1065699 w 4171131"/>
              <a:gd name="connsiteY12" fmla="*/ 0 h 4445464"/>
              <a:gd name="connsiteX13" fmla="*/ 2040031 w 4171131"/>
              <a:gd name="connsiteY13" fmla="*/ 569527 h 4445464"/>
              <a:gd name="connsiteX14" fmla="*/ 2040031 w 4171131"/>
              <a:gd name="connsiteY14" fmla="*/ 3875937 h 4445464"/>
              <a:gd name="connsiteX15" fmla="*/ 1065699 w 4171131"/>
              <a:gd name="connsiteY15" fmla="*/ 4445464 h 4445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171131" h="4445464">
                <a:moveTo>
                  <a:pt x="0" y="1"/>
                </a:moveTo>
                <a:lnTo>
                  <a:pt x="943908" y="569527"/>
                </a:lnTo>
                <a:lnTo>
                  <a:pt x="943908" y="3875937"/>
                </a:lnTo>
                <a:lnTo>
                  <a:pt x="0" y="4445464"/>
                </a:lnTo>
                <a:close/>
                <a:moveTo>
                  <a:pt x="3227322" y="0"/>
                </a:moveTo>
                <a:lnTo>
                  <a:pt x="4171131" y="569527"/>
                </a:lnTo>
                <a:lnTo>
                  <a:pt x="4171131" y="3875937"/>
                </a:lnTo>
                <a:lnTo>
                  <a:pt x="3227322" y="4445464"/>
                </a:lnTo>
                <a:close/>
                <a:moveTo>
                  <a:pt x="2131400" y="0"/>
                </a:moveTo>
                <a:lnTo>
                  <a:pt x="3105631" y="569527"/>
                </a:lnTo>
                <a:lnTo>
                  <a:pt x="3105631" y="3875937"/>
                </a:lnTo>
                <a:lnTo>
                  <a:pt x="2131400" y="4445464"/>
                </a:lnTo>
                <a:close/>
                <a:moveTo>
                  <a:pt x="1065699" y="0"/>
                </a:moveTo>
                <a:lnTo>
                  <a:pt x="2040031" y="569527"/>
                </a:lnTo>
                <a:lnTo>
                  <a:pt x="2040031" y="3875937"/>
                </a:lnTo>
                <a:lnTo>
                  <a:pt x="1065699" y="444546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insert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94ACFC5-D53C-B324-758C-416E26F66A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670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094" userDrawn="1">
          <p15:clr>
            <a:srgbClr val="547EBF"/>
          </p15:clr>
        </p15:guide>
        <p15:guide id="3" orient="horz" pos="2822" userDrawn="1">
          <p15:clr>
            <a:srgbClr val="547EBF"/>
          </p15:clr>
        </p15:guide>
        <p15:guide id="4" pos="272" userDrawn="1">
          <p15:clr>
            <a:srgbClr val="547EBF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el_less than 6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C237CC5-3A8A-4ADC-E68E-CABE38517D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1800" y="1239838"/>
            <a:ext cx="8280400" cy="245772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add panel or speaker heading</a:t>
            </a:r>
            <a:endParaRPr lang="en-US"/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B7761E2B-E846-942D-7A91-E535F6D7B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1F2D5110-43C7-E266-3CA5-AEC4AEA2FE6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59454" y="1605101"/>
            <a:ext cx="1211263" cy="1111708"/>
          </a:xfrm>
          <a:solidFill>
            <a:schemeClr val="tx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6E2678D7-41D4-486F-FF4F-78C04CE57A2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73281" y="1605101"/>
            <a:ext cx="1211263" cy="1111708"/>
          </a:xfrm>
          <a:solidFill>
            <a:schemeClr val="tx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1C6721DE-C642-F39D-0463-7360E045FD9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87108" y="1605101"/>
            <a:ext cx="1211263" cy="1111708"/>
          </a:xfrm>
          <a:solidFill>
            <a:schemeClr val="tx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5" name="Picture Placeholder 8">
            <a:extLst>
              <a:ext uri="{FF2B5EF4-FFF2-40B4-BE49-F238E27FC236}">
                <a16:creationId xmlns:a16="http://schemas.microsoft.com/office/drawing/2014/main" id="{99CF8B11-C1E7-E774-563D-8C710DF2ED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500937" y="1605101"/>
            <a:ext cx="1211263" cy="1111708"/>
          </a:xfrm>
          <a:solidFill>
            <a:schemeClr val="tx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79FF5601-5F17-187C-AB46-ADB8C72EBDA4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3259454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EEC3B744-4E6C-AAAF-E440-2A014CCFD8B7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4673281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B95A5C80-DAB6-A2F5-C295-AB80426D43DA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6087108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E5FE90F1-EC32-69FD-AEF2-0710A6254081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7500937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30" name="Picture Placeholder 8">
            <a:extLst>
              <a:ext uri="{FF2B5EF4-FFF2-40B4-BE49-F238E27FC236}">
                <a16:creationId xmlns:a16="http://schemas.microsoft.com/office/drawing/2014/main" id="{B4F18A0E-A745-69E0-6757-DAC2DE59D81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800" y="1605101"/>
            <a:ext cx="1211263" cy="1111708"/>
          </a:xfrm>
          <a:solidFill>
            <a:schemeClr val="tx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5400D85E-B618-DE2D-2EAD-6DAC6CCDF146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431800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51BBF7E9-AAFF-17E0-B415-1D4E897FB72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845627" y="1605101"/>
            <a:ext cx="1211263" cy="1111708"/>
          </a:xfrm>
          <a:solidFill>
            <a:schemeClr val="tx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2365336-BFD6-03F6-AF22-F302361D167F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1845627" y="2835831"/>
            <a:ext cx="1211263" cy="1458118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1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100" b="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34" name="Date Placeholder 33">
            <a:extLst>
              <a:ext uri="{FF2B5EF4-FFF2-40B4-BE49-F238E27FC236}">
                <a16:creationId xmlns:a16="http://schemas.microsoft.com/office/drawing/2014/main" id="{B43F45F1-73AE-354B-5227-885DC9D3A5B6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5" name="Footer Placeholder 34">
            <a:extLst>
              <a:ext uri="{FF2B5EF4-FFF2-40B4-BE49-F238E27FC236}">
                <a16:creationId xmlns:a16="http://schemas.microsoft.com/office/drawing/2014/main" id="{9715EA20-185E-1BEE-C190-1D349718ED07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6" name="Slide Number Placeholder 35">
            <a:extLst>
              <a:ext uri="{FF2B5EF4-FFF2-40B4-BE49-F238E27FC236}">
                <a16:creationId xmlns:a16="http://schemas.microsoft.com/office/drawing/2014/main" id="{FED1F77B-4203-47EB-654C-2693FA118347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8086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el_more than 8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EB59006-3BBD-281F-78D1-D9352B75BFA0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428625" y="3124789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06FD665-8996-D763-D378-1F8C1C1F04AF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1843087" y="3124789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A6DA1A1-C8F3-25DB-1B58-CF796E169931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3257549" y="3124789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1566D6F6-0E3F-EE0A-BBC1-1589B98FF895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672011" y="3124789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2137304-3F5A-F067-1B98-F70E467B0F88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428625" y="1605101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54D785B4-1E7D-81DC-5654-49C69F189311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1843087" y="1605101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B23AC1B5-5F47-BB1D-E8EA-585C0B1647D2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3257549" y="1605101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A8E68E8D-F5B9-B58B-5831-66EA641AB681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4672011" y="1605101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EBB07D1A-E13C-6B4F-6A33-9C40B1B00093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6086473" y="3124789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7EBAAB38-F3A7-5DE4-A3F0-6EE99A87E487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7500935" y="3124789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FFAC1B36-70E1-2D2A-75AF-324C1B10CA52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6086473" y="1605101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B4B5F10B-4FDD-5D57-0116-DF3B28C404EA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7500935" y="1605101"/>
            <a:ext cx="1211263" cy="1368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buNone/>
              <a:defRPr sz="1100" b="1"/>
            </a:lvl2pPr>
            <a:lvl3pPr marL="0" indent="0">
              <a:lnSpc>
                <a:spcPct val="100000"/>
              </a:lnSpc>
              <a:spcAft>
                <a:spcPts val="400"/>
              </a:spcAft>
              <a:buNone/>
              <a:defRPr sz="10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add details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Company</a:t>
            </a:r>
          </a:p>
          <a:p>
            <a:pPr lvl="3"/>
            <a:r>
              <a:rPr lang="en-US"/>
              <a:t>Contact details</a:t>
            </a:r>
          </a:p>
          <a:p>
            <a:pPr lvl="0"/>
            <a:endParaRPr lang="en-US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2FAC179E-C178-B33A-1969-ECA62CBC250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1800" y="1239838"/>
            <a:ext cx="8280400" cy="245772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add panel or speaker heading</a:t>
            </a:r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7B589FB-7C6D-AF47-10F1-0447825B9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C710ACAE-3913-A896-C1B0-664A9135FAE4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8E78662B-DCB6-D231-01F7-BB4B6AB368A6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AE344883-160A-DA58-EA75-78B9547ED9E1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3050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Pap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2D23A3-5C1E-2596-48C6-781B86C3E4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4"/>
            <a:ext cx="8274613" cy="1512886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“Quote.”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8F6EDF-548C-40F3-B63E-35E5B45BF4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2765025"/>
            <a:ext cx="3918513" cy="896731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ource Name</a:t>
            </a:r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E51D527-B865-B700-5384-C1A786246B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800" y="4717794"/>
            <a:ext cx="931835" cy="129600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0AE7742-4162-63D9-ECE7-7CCF75CCD5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B699B3F-7C70-586A-CCF2-0647F1E704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70DCC8D-E0DC-4F08-4521-DFDC456D6B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616207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39A3A30-A56F-E2FB-79FE-E2C2EACB066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tx1">
              <a:lumMod val="85000"/>
            </a:schemeClr>
          </a:solidFill>
        </p:spPr>
        <p:txBody>
          <a:bodyPr tIns="180000" anchor="t" anchorCtr="1">
            <a:norm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F96C22-5793-0FF1-1333-1D67A95A60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4717794"/>
            <a:ext cx="931863" cy="12858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2D23A3-5C1E-2596-48C6-781B86C3E4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4"/>
            <a:ext cx="8274613" cy="1512886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/>
              <a:t>“Quote.”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8F6EDF-548C-40F3-B63E-35E5B45BF4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2765025"/>
            <a:ext cx="3918513" cy="896731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ource Name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6C38489-AB97-3060-D572-9FD2AEE090A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CAFB21-56A2-05F0-1EE7-893E0C670C1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7307451-6A96-E1B9-2A8D-F3A3FE68041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756083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ro slide_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CD033DE1-C9D1-F2F6-7B17-0FBA3B293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F008FAA6-50EB-3DE9-3A27-95D51F6DF52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1800" y="1239838"/>
            <a:ext cx="8280200" cy="3276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07801E6-EF51-2725-8318-B6B617B61A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4717794"/>
            <a:ext cx="931863" cy="12858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181119D-C758-9369-D248-92C5CD96AE4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C0D0642-313E-E31B-7543-3515E3105AD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0008F28A-3951-0D91-22D0-1974A92728F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0034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ro slide_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DDF316EA-5E27-88B1-60D7-DB80BD5885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04ACE7ED-1324-94ED-1F75-92DE73E2D18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1800" y="1239838"/>
            <a:ext cx="8280200" cy="3276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A83AFBA-20D8-B042-FBA7-88F1B124E2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4717794"/>
            <a:ext cx="931863" cy="12858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368A4B-8D4B-322F-7092-09E53B59E4C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B3A794-7A2E-42D3-34CB-1A1ADBCA3E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6A04973B-97D4-2A21-42DD-CEEE3D38AC3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1740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ro slide_Grap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735EDF26-9E77-A64C-DCD3-7A6C5D1677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DA1E8C03-B9C6-EE7E-E9B6-C38ABFC2B2F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1800" y="1239838"/>
            <a:ext cx="8280200" cy="3276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DE0EC10-2EFD-D692-9D76-FA2E4A2CA5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4717794"/>
            <a:ext cx="931863" cy="12858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D18F13-C921-76DA-17F2-458B4E98EA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A3E6E6-3E34-82A3-4567-213BC4E7909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F9B3D974-2EC8-C50A-1A6A-905B3FCA36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4700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A3560DFD-FF2E-F6E5-BDE1-E6BCDD3196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948437"/>
            <a:ext cx="3918513" cy="128961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divider title</a:t>
            </a: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06B2645-26E6-4975-9387-703AA4AF49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9144000" cy="5143500"/>
          </a:xfrm>
          <a:custGeom>
            <a:avLst/>
            <a:gdLst>
              <a:gd name="connsiteX0" fmla="*/ 0 w 9144000"/>
              <a:gd name="connsiteY0" fmla="*/ 0 h 5143500"/>
              <a:gd name="connsiteX1" fmla="*/ 4787900 w 9144000"/>
              <a:gd name="connsiteY1" fmla="*/ 0 h 5143500"/>
              <a:gd name="connsiteX2" fmla="*/ 9144000 w 9144000"/>
              <a:gd name="connsiteY2" fmla="*/ 0 h 5143500"/>
              <a:gd name="connsiteX3" fmla="*/ 9144000 w 9144000"/>
              <a:gd name="connsiteY3" fmla="*/ 1058863 h 5143500"/>
              <a:gd name="connsiteX4" fmla="*/ 9144000 w 9144000"/>
              <a:gd name="connsiteY4" fmla="*/ 5143500 h 5143500"/>
              <a:gd name="connsiteX5" fmla="*/ 4787900 w 9144000"/>
              <a:gd name="connsiteY5" fmla="*/ 5143500 h 5143500"/>
              <a:gd name="connsiteX6" fmla="*/ 4787900 w 9144000"/>
              <a:gd name="connsiteY6" fmla="*/ 1058863 h 5143500"/>
              <a:gd name="connsiteX7" fmla="*/ 0 w 9144000"/>
              <a:gd name="connsiteY7" fmla="*/ 1058863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143500">
                <a:moveTo>
                  <a:pt x="0" y="0"/>
                </a:moveTo>
                <a:lnTo>
                  <a:pt x="4787900" y="0"/>
                </a:lnTo>
                <a:lnTo>
                  <a:pt x="9144000" y="0"/>
                </a:lnTo>
                <a:lnTo>
                  <a:pt x="9144000" y="1058863"/>
                </a:lnTo>
                <a:lnTo>
                  <a:pt x="9144000" y="5143500"/>
                </a:lnTo>
                <a:lnTo>
                  <a:pt x="4787900" y="5143500"/>
                </a:lnTo>
                <a:lnTo>
                  <a:pt x="4787900" y="1058863"/>
                </a:lnTo>
                <a:lnTo>
                  <a:pt x="0" y="1058863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>
            <a:no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900"/>
            </a:lvl1pPr>
          </a:lstStyle>
          <a:p>
            <a:endParaRPr lang="en-US"/>
          </a:p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71CDD51B-73E1-76FB-FE20-5A21A4A1B9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367294"/>
            <a:ext cx="3918513" cy="896731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AE01F2-DA9B-19B2-BFCA-FE60AA769A3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763770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WallPap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856A454-D930-61C7-4877-0516E4AEC018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16690" b="-16690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DAAFC87-EB9B-8E38-1FCE-0BA94F1CBC2A}"/>
              </a:ext>
            </a:extLst>
          </p:cNvPr>
          <p:cNvSpPr/>
          <p:nvPr userDrawn="1"/>
        </p:nvSpPr>
        <p:spPr>
          <a:xfrm>
            <a:off x="0" y="1058863"/>
            <a:ext cx="4785582" cy="40846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3560DFD-FF2E-F6E5-BDE1-E6BCDD3196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948437"/>
            <a:ext cx="3918513" cy="128961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divider title</a:t>
            </a:r>
            <a:endParaRPr lang="en-US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71CDD51B-73E1-76FB-FE20-5A21A4A1B9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367294"/>
            <a:ext cx="3918513" cy="896731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70EFC67-4553-68C8-6E64-7DA0FE2BA0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800" y="4717794"/>
            <a:ext cx="931835" cy="129600"/>
          </a:xfrm>
          <a:prstGeom prst="rect">
            <a:avLst/>
          </a:prstGeom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6961C34-CBF8-2B28-0ACE-DFE9793084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841276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WallPap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074075C-D830-71D2-F4A7-2FA2FA85E00A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16690" b="-16690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DAAFC87-EB9B-8E38-1FCE-0BA94F1CBC2A}"/>
              </a:ext>
            </a:extLst>
          </p:cNvPr>
          <p:cNvSpPr/>
          <p:nvPr userDrawn="1"/>
        </p:nvSpPr>
        <p:spPr>
          <a:xfrm>
            <a:off x="0" y="1058864"/>
            <a:ext cx="4785582" cy="40846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3560DFD-FF2E-F6E5-BDE1-E6BCDD3196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948437"/>
            <a:ext cx="3918513" cy="128961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divider title</a:t>
            </a:r>
            <a:endParaRPr lang="en-US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71CDD51B-73E1-76FB-FE20-5A21A4A1B9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367294"/>
            <a:ext cx="3918513" cy="896731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297DC80-571E-6EBB-769B-52D224B0EF9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800" y="4717794"/>
            <a:ext cx="931835" cy="129600"/>
          </a:xfrm>
          <a:prstGeom prst="rect">
            <a:avLst/>
          </a:prstGeom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45AF78F-7630-01D4-06C5-777E22534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75963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ogo Cover -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704107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704107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2357A365-B981-CBBC-D4A8-737E6786D8F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800442" y="428625"/>
            <a:ext cx="1905708" cy="3924299"/>
          </a:xfrm>
          <a:custGeom>
            <a:avLst/>
            <a:gdLst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3541647 w 4459850"/>
              <a:gd name="connsiteY4" fmla="*/ 0 h 4464050"/>
              <a:gd name="connsiteX5" fmla="*/ 3543399 w 4459850"/>
              <a:gd name="connsiteY5" fmla="*/ 0 h 4464050"/>
              <a:gd name="connsiteX6" fmla="*/ 3543399 w 4459850"/>
              <a:gd name="connsiteY6" fmla="*/ 4464050 h 4464050"/>
              <a:gd name="connsiteX7" fmla="*/ 3541650 w 4459850"/>
              <a:gd name="connsiteY7" fmla="*/ 4464050 h 4464050"/>
              <a:gd name="connsiteX8" fmla="*/ 2911872 w 4459850"/>
              <a:gd name="connsiteY8" fmla="*/ 3893419 h 4464050"/>
              <a:gd name="connsiteX9" fmla="*/ 2911872 w 4459850"/>
              <a:gd name="connsiteY9" fmla="*/ 570628 h 4464050"/>
              <a:gd name="connsiteX10" fmla="*/ 2793440 w 4459850"/>
              <a:gd name="connsiteY10" fmla="*/ 0 h 4464050"/>
              <a:gd name="connsiteX11" fmla="*/ 2794835 w 4459850"/>
              <a:gd name="connsiteY11" fmla="*/ 0 h 4464050"/>
              <a:gd name="connsiteX12" fmla="*/ 2794835 w 4459850"/>
              <a:gd name="connsiteY12" fmla="*/ 4464050 h 4464050"/>
              <a:gd name="connsiteX13" fmla="*/ 2793443 w 4459850"/>
              <a:gd name="connsiteY13" fmla="*/ 4464050 h 4464050"/>
              <a:gd name="connsiteX14" fmla="*/ 2292030 w 4459850"/>
              <a:gd name="connsiteY14" fmla="*/ 3893419 h 4464050"/>
              <a:gd name="connsiteX15" fmla="*/ 2292030 w 4459850"/>
              <a:gd name="connsiteY15" fmla="*/ 570628 h 4464050"/>
              <a:gd name="connsiteX16" fmla="*/ 1672385 w 4459850"/>
              <a:gd name="connsiteY16" fmla="*/ 0 h 4464050"/>
              <a:gd name="connsiteX17" fmla="*/ 1673781 w 4459850"/>
              <a:gd name="connsiteY17" fmla="*/ 0 h 4464050"/>
              <a:gd name="connsiteX18" fmla="*/ 2175191 w 4459850"/>
              <a:gd name="connsiteY18" fmla="*/ 570628 h 4464050"/>
              <a:gd name="connsiteX19" fmla="*/ 2175191 w 4459850"/>
              <a:gd name="connsiteY19" fmla="*/ 3893320 h 4464050"/>
              <a:gd name="connsiteX20" fmla="*/ 1673690 w 4459850"/>
              <a:gd name="connsiteY20" fmla="*/ 4464050 h 4464050"/>
              <a:gd name="connsiteX21" fmla="*/ 1672385 w 4459850"/>
              <a:gd name="connsiteY21" fmla="*/ 4464050 h 4464050"/>
              <a:gd name="connsiteX22" fmla="*/ 923822 w 4459850"/>
              <a:gd name="connsiteY22" fmla="*/ 0 h 4464050"/>
              <a:gd name="connsiteX23" fmla="*/ 925575 w 4459850"/>
              <a:gd name="connsiteY23" fmla="*/ 0 h 4464050"/>
              <a:gd name="connsiteX24" fmla="*/ 1555348 w 4459850"/>
              <a:gd name="connsiteY24" fmla="*/ 570628 h 4464050"/>
              <a:gd name="connsiteX25" fmla="*/ 1555348 w 4459850"/>
              <a:gd name="connsiteY25" fmla="*/ 3893320 h 4464050"/>
              <a:gd name="connsiteX26" fmla="*/ 925461 w 4459850"/>
              <a:gd name="connsiteY26" fmla="*/ 4464050 h 4464050"/>
              <a:gd name="connsiteX27" fmla="*/ 923822 w 4459850"/>
              <a:gd name="connsiteY27" fmla="*/ 4464050 h 4464050"/>
              <a:gd name="connsiteX28" fmla="*/ 0 w 4459850"/>
              <a:gd name="connsiteY28" fmla="*/ 0 h 4464050"/>
              <a:gd name="connsiteX29" fmla="*/ 2239 w 4459850"/>
              <a:gd name="connsiteY29" fmla="*/ 0 h 4464050"/>
              <a:gd name="connsiteX30" fmla="*/ 806883 w 4459850"/>
              <a:gd name="connsiteY30" fmla="*/ 570628 h 4464050"/>
              <a:gd name="connsiteX31" fmla="*/ 806883 w 4459850"/>
              <a:gd name="connsiteY31" fmla="*/ 3893419 h 4464050"/>
              <a:gd name="connsiteX32" fmla="*/ 2234 w 4459850"/>
              <a:gd name="connsiteY32" fmla="*/ 4464050 h 4464050"/>
              <a:gd name="connsiteX33" fmla="*/ 0 w 4459850"/>
              <a:gd name="connsiteY33" fmla="*/ 446405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793440 w 4459850"/>
              <a:gd name="connsiteY12" fmla="*/ 0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2292030 w 4459850"/>
              <a:gd name="connsiteY17" fmla="*/ 570628 h 4464050"/>
              <a:gd name="connsiteX18" fmla="*/ 2793440 w 4459850"/>
              <a:gd name="connsiteY18" fmla="*/ 0 h 4464050"/>
              <a:gd name="connsiteX19" fmla="*/ 1672385 w 4459850"/>
              <a:gd name="connsiteY19" fmla="*/ 0 h 4464050"/>
              <a:gd name="connsiteX20" fmla="*/ 1673781 w 4459850"/>
              <a:gd name="connsiteY20" fmla="*/ 0 h 4464050"/>
              <a:gd name="connsiteX21" fmla="*/ 2175191 w 4459850"/>
              <a:gd name="connsiteY21" fmla="*/ 570628 h 4464050"/>
              <a:gd name="connsiteX22" fmla="*/ 2175191 w 4459850"/>
              <a:gd name="connsiteY22" fmla="*/ 3893320 h 4464050"/>
              <a:gd name="connsiteX23" fmla="*/ 1673690 w 4459850"/>
              <a:gd name="connsiteY23" fmla="*/ 4464050 h 4464050"/>
              <a:gd name="connsiteX24" fmla="*/ 1672385 w 4459850"/>
              <a:gd name="connsiteY24" fmla="*/ 4464050 h 4464050"/>
              <a:gd name="connsiteX25" fmla="*/ 1672385 w 4459850"/>
              <a:gd name="connsiteY25" fmla="*/ 0 h 4464050"/>
              <a:gd name="connsiteX26" fmla="*/ 923822 w 4459850"/>
              <a:gd name="connsiteY26" fmla="*/ 0 h 4464050"/>
              <a:gd name="connsiteX27" fmla="*/ 925575 w 4459850"/>
              <a:gd name="connsiteY27" fmla="*/ 0 h 4464050"/>
              <a:gd name="connsiteX28" fmla="*/ 1555348 w 4459850"/>
              <a:gd name="connsiteY28" fmla="*/ 570628 h 4464050"/>
              <a:gd name="connsiteX29" fmla="*/ 1555348 w 4459850"/>
              <a:gd name="connsiteY29" fmla="*/ 3893320 h 4464050"/>
              <a:gd name="connsiteX30" fmla="*/ 925461 w 4459850"/>
              <a:gd name="connsiteY30" fmla="*/ 4464050 h 4464050"/>
              <a:gd name="connsiteX31" fmla="*/ 923822 w 4459850"/>
              <a:gd name="connsiteY31" fmla="*/ 4464050 h 4464050"/>
              <a:gd name="connsiteX32" fmla="*/ 923822 w 4459850"/>
              <a:gd name="connsiteY32" fmla="*/ 0 h 4464050"/>
              <a:gd name="connsiteX33" fmla="*/ 0 w 4459850"/>
              <a:gd name="connsiteY33" fmla="*/ 0 h 4464050"/>
              <a:gd name="connsiteX34" fmla="*/ 2239 w 4459850"/>
              <a:gd name="connsiteY34" fmla="*/ 0 h 4464050"/>
              <a:gd name="connsiteX35" fmla="*/ 806883 w 4459850"/>
              <a:gd name="connsiteY35" fmla="*/ 3893419 h 4464050"/>
              <a:gd name="connsiteX36" fmla="*/ 2234 w 4459850"/>
              <a:gd name="connsiteY36" fmla="*/ 4464050 h 4464050"/>
              <a:gd name="connsiteX37" fmla="*/ 0 w 4459850"/>
              <a:gd name="connsiteY37" fmla="*/ 4464050 h 4464050"/>
              <a:gd name="connsiteX38" fmla="*/ 0 w 4459850"/>
              <a:gd name="connsiteY38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793440 w 4459850"/>
              <a:gd name="connsiteY12" fmla="*/ 0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2292030 w 4459850"/>
              <a:gd name="connsiteY17" fmla="*/ 570628 h 4464050"/>
              <a:gd name="connsiteX18" fmla="*/ 2793440 w 4459850"/>
              <a:gd name="connsiteY18" fmla="*/ 0 h 4464050"/>
              <a:gd name="connsiteX19" fmla="*/ 1672385 w 4459850"/>
              <a:gd name="connsiteY19" fmla="*/ 0 h 4464050"/>
              <a:gd name="connsiteX20" fmla="*/ 1673781 w 4459850"/>
              <a:gd name="connsiteY20" fmla="*/ 0 h 4464050"/>
              <a:gd name="connsiteX21" fmla="*/ 2175191 w 4459850"/>
              <a:gd name="connsiteY21" fmla="*/ 570628 h 4464050"/>
              <a:gd name="connsiteX22" fmla="*/ 2175191 w 4459850"/>
              <a:gd name="connsiteY22" fmla="*/ 3893320 h 4464050"/>
              <a:gd name="connsiteX23" fmla="*/ 1673690 w 4459850"/>
              <a:gd name="connsiteY23" fmla="*/ 4464050 h 4464050"/>
              <a:gd name="connsiteX24" fmla="*/ 1672385 w 4459850"/>
              <a:gd name="connsiteY24" fmla="*/ 4464050 h 4464050"/>
              <a:gd name="connsiteX25" fmla="*/ 1672385 w 4459850"/>
              <a:gd name="connsiteY25" fmla="*/ 0 h 4464050"/>
              <a:gd name="connsiteX26" fmla="*/ 923822 w 4459850"/>
              <a:gd name="connsiteY26" fmla="*/ 0 h 4464050"/>
              <a:gd name="connsiteX27" fmla="*/ 925575 w 4459850"/>
              <a:gd name="connsiteY27" fmla="*/ 0 h 4464050"/>
              <a:gd name="connsiteX28" fmla="*/ 1555348 w 4459850"/>
              <a:gd name="connsiteY28" fmla="*/ 570628 h 4464050"/>
              <a:gd name="connsiteX29" fmla="*/ 1555348 w 4459850"/>
              <a:gd name="connsiteY29" fmla="*/ 3893320 h 4464050"/>
              <a:gd name="connsiteX30" fmla="*/ 925461 w 4459850"/>
              <a:gd name="connsiteY30" fmla="*/ 4464050 h 4464050"/>
              <a:gd name="connsiteX31" fmla="*/ 923822 w 4459850"/>
              <a:gd name="connsiteY31" fmla="*/ 4464050 h 4464050"/>
              <a:gd name="connsiteX32" fmla="*/ 923822 w 4459850"/>
              <a:gd name="connsiteY32" fmla="*/ 0 h 4464050"/>
              <a:gd name="connsiteX33" fmla="*/ 0 w 4459850"/>
              <a:gd name="connsiteY33" fmla="*/ 4464050 h 4464050"/>
              <a:gd name="connsiteX34" fmla="*/ 2239 w 4459850"/>
              <a:gd name="connsiteY34" fmla="*/ 0 h 4464050"/>
              <a:gd name="connsiteX35" fmla="*/ 806883 w 4459850"/>
              <a:gd name="connsiteY35" fmla="*/ 3893419 h 4464050"/>
              <a:gd name="connsiteX36" fmla="*/ 2234 w 4459850"/>
              <a:gd name="connsiteY36" fmla="*/ 4464050 h 4464050"/>
              <a:gd name="connsiteX37" fmla="*/ 0 w 4459850"/>
              <a:gd name="connsiteY37" fmla="*/ 4464050 h 4464050"/>
              <a:gd name="connsiteX0" fmla="*/ 4457616 w 4457616"/>
              <a:gd name="connsiteY0" fmla="*/ 3569 h 4464050"/>
              <a:gd name="connsiteX1" fmla="*/ 4457616 w 4457616"/>
              <a:gd name="connsiteY1" fmla="*/ 4460478 h 4464050"/>
              <a:gd name="connsiteX2" fmla="*/ 3658004 w 4457616"/>
              <a:gd name="connsiteY2" fmla="*/ 3893419 h 4464050"/>
              <a:gd name="connsiteX3" fmla="*/ 3658004 w 4457616"/>
              <a:gd name="connsiteY3" fmla="*/ 570628 h 4464050"/>
              <a:gd name="connsiteX4" fmla="*/ 4457616 w 4457616"/>
              <a:gd name="connsiteY4" fmla="*/ 3569 h 4464050"/>
              <a:gd name="connsiteX5" fmla="*/ 3539413 w 4457616"/>
              <a:gd name="connsiteY5" fmla="*/ 0 h 4464050"/>
              <a:gd name="connsiteX6" fmla="*/ 3541165 w 4457616"/>
              <a:gd name="connsiteY6" fmla="*/ 0 h 4464050"/>
              <a:gd name="connsiteX7" fmla="*/ 3541165 w 4457616"/>
              <a:gd name="connsiteY7" fmla="*/ 4464050 h 4464050"/>
              <a:gd name="connsiteX8" fmla="*/ 3539416 w 4457616"/>
              <a:gd name="connsiteY8" fmla="*/ 4464050 h 4464050"/>
              <a:gd name="connsiteX9" fmla="*/ 2909638 w 4457616"/>
              <a:gd name="connsiteY9" fmla="*/ 3893419 h 4464050"/>
              <a:gd name="connsiteX10" fmla="*/ 2909638 w 4457616"/>
              <a:gd name="connsiteY10" fmla="*/ 570628 h 4464050"/>
              <a:gd name="connsiteX11" fmla="*/ 3539413 w 4457616"/>
              <a:gd name="connsiteY11" fmla="*/ 0 h 4464050"/>
              <a:gd name="connsiteX12" fmla="*/ 2791206 w 4457616"/>
              <a:gd name="connsiteY12" fmla="*/ 0 h 4464050"/>
              <a:gd name="connsiteX13" fmla="*/ 2792601 w 4457616"/>
              <a:gd name="connsiteY13" fmla="*/ 0 h 4464050"/>
              <a:gd name="connsiteX14" fmla="*/ 2792601 w 4457616"/>
              <a:gd name="connsiteY14" fmla="*/ 4464050 h 4464050"/>
              <a:gd name="connsiteX15" fmla="*/ 2791209 w 4457616"/>
              <a:gd name="connsiteY15" fmla="*/ 4464050 h 4464050"/>
              <a:gd name="connsiteX16" fmla="*/ 2289796 w 4457616"/>
              <a:gd name="connsiteY16" fmla="*/ 3893419 h 4464050"/>
              <a:gd name="connsiteX17" fmla="*/ 2289796 w 4457616"/>
              <a:gd name="connsiteY17" fmla="*/ 570628 h 4464050"/>
              <a:gd name="connsiteX18" fmla="*/ 2791206 w 4457616"/>
              <a:gd name="connsiteY18" fmla="*/ 0 h 4464050"/>
              <a:gd name="connsiteX19" fmla="*/ 1670151 w 4457616"/>
              <a:gd name="connsiteY19" fmla="*/ 0 h 4464050"/>
              <a:gd name="connsiteX20" fmla="*/ 1671547 w 4457616"/>
              <a:gd name="connsiteY20" fmla="*/ 0 h 4464050"/>
              <a:gd name="connsiteX21" fmla="*/ 2172957 w 4457616"/>
              <a:gd name="connsiteY21" fmla="*/ 570628 h 4464050"/>
              <a:gd name="connsiteX22" fmla="*/ 2172957 w 4457616"/>
              <a:gd name="connsiteY22" fmla="*/ 3893320 h 4464050"/>
              <a:gd name="connsiteX23" fmla="*/ 1671456 w 4457616"/>
              <a:gd name="connsiteY23" fmla="*/ 4464050 h 4464050"/>
              <a:gd name="connsiteX24" fmla="*/ 1670151 w 4457616"/>
              <a:gd name="connsiteY24" fmla="*/ 4464050 h 4464050"/>
              <a:gd name="connsiteX25" fmla="*/ 1670151 w 4457616"/>
              <a:gd name="connsiteY25" fmla="*/ 0 h 4464050"/>
              <a:gd name="connsiteX26" fmla="*/ 921588 w 4457616"/>
              <a:gd name="connsiteY26" fmla="*/ 0 h 4464050"/>
              <a:gd name="connsiteX27" fmla="*/ 923341 w 4457616"/>
              <a:gd name="connsiteY27" fmla="*/ 0 h 4464050"/>
              <a:gd name="connsiteX28" fmla="*/ 1553114 w 4457616"/>
              <a:gd name="connsiteY28" fmla="*/ 570628 h 4464050"/>
              <a:gd name="connsiteX29" fmla="*/ 1553114 w 4457616"/>
              <a:gd name="connsiteY29" fmla="*/ 3893320 h 4464050"/>
              <a:gd name="connsiteX30" fmla="*/ 923227 w 4457616"/>
              <a:gd name="connsiteY30" fmla="*/ 4464050 h 4464050"/>
              <a:gd name="connsiteX31" fmla="*/ 921588 w 4457616"/>
              <a:gd name="connsiteY31" fmla="*/ 4464050 h 4464050"/>
              <a:gd name="connsiteX32" fmla="*/ 921588 w 4457616"/>
              <a:gd name="connsiteY32" fmla="*/ 0 h 4464050"/>
              <a:gd name="connsiteX33" fmla="*/ 0 w 4457616"/>
              <a:gd name="connsiteY33" fmla="*/ 4464050 h 4464050"/>
              <a:gd name="connsiteX34" fmla="*/ 5 w 4457616"/>
              <a:gd name="connsiteY34" fmla="*/ 0 h 4464050"/>
              <a:gd name="connsiteX35" fmla="*/ 804649 w 4457616"/>
              <a:gd name="connsiteY35" fmla="*/ 3893419 h 4464050"/>
              <a:gd name="connsiteX36" fmla="*/ 0 w 4457616"/>
              <a:gd name="connsiteY36" fmla="*/ 4464050 h 4464050"/>
              <a:gd name="connsiteX0" fmla="*/ 4457611 w 4457611"/>
              <a:gd name="connsiteY0" fmla="*/ 3569 h 4464050"/>
              <a:gd name="connsiteX1" fmla="*/ 4457611 w 4457611"/>
              <a:gd name="connsiteY1" fmla="*/ 4460478 h 4464050"/>
              <a:gd name="connsiteX2" fmla="*/ 3657999 w 4457611"/>
              <a:gd name="connsiteY2" fmla="*/ 3893419 h 4464050"/>
              <a:gd name="connsiteX3" fmla="*/ 3657999 w 4457611"/>
              <a:gd name="connsiteY3" fmla="*/ 570628 h 4464050"/>
              <a:gd name="connsiteX4" fmla="*/ 4457611 w 4457611"/>
              <a:gd name="connsiteY4" fmla="*/ 3569 h 4464050"/>
              <a:gd name="connsiteX5" fmla="*/ 3539408 w 4457611"/>
              <a:gd name="connsiteY5" fmla="*/ 0 h 4464050"/>
              <a:gd name="connsiteX6" fmla="*/ 3541160 w 4457611"/>
              <a:gd name="connsiteY6" fmla="*/ 0 h 4464050"/>
              <a:gd name="connsiteX7" fmla="*/ 3541160 w 4457611"/>
              <a:gd name="connsiteY7" fmla="*/ 4464050 h 4464050"/>
              <a:gd name="connsiteX8" fmla="*/ 3539411 w 4457611"/>
              <a:gd name="connsiteY8" fmla="*/ 4464050 h 4464050"/>
              <a:gd name="connsiteX9" fmla="*/ 2909633 w 4457611"/>
              <a:gd name="connsiteY9" fmla="*/ 3893419 h 4464050"/>
              <a:gd name="connsiteX10" fmla="*/ 2909633 w 4457611"/>
              <a:gd name="connsiteY10" fmla="*/ 570628 h 4464050"/>
              <a:gd name="connsiteX11" fmla="*/ 3539408 w 4457611"/>
              <a:gd name="connsiteY11" fmla="*/ 0 h 4464050"/>
              <a:gd name="connsiteX12" fmla="*/ 2791201 w 4457611"/>
              <a:gd name="connsiteY12" fmla="*/ 0 h 4464050"/>
              <a:gd name="connsiteX13" fmla="*/ 2792596 w 4457611"/>
              <a:gd name="connsiteY13" fmla="*/ 0 h 4464050"/>
              <a:gd name="connsiteX14" fmla="*/ 2792596 w 4457611"/>
              <a:gd name="connsiteY14" fmla="*/ 4464050 h 4464050"/>
              <a:gd name="connsiteX15" fmla="*/ 2791204 w 4457611"/>
              <a:gd name="connsiteY15" fmla="*/ 4464050 h 4464050"/>
              <a:gd name="connsiteX16" fmla="*/ 2289791 w 4457611"/>
              <a:gd name="connsiteY16" fmla="*/ 3893419 h 4464050"/>
              <a:gd name="connsiteX17" fmla="*/ 2289791 w 4457611"/>
              <a:gd name="connsiteY17" fmla="*/ 570628 h 4464050"/>
              <a:gd name="connsiteX18" fmla="*/ 2791201 w 4457611"/>
              <a:gd name="connsiteY18" fmla="*/ 0 h 4464050"/>
              <a:gd name="connsiteX19" fmla="*/ 1670146 w 4457611"/>
              <a:gd name="connsiteY19" fmla="*/ 0 h 4464050"/>
              <a:gd name="connsiteX20" fmla="*/ 1671542 w 4457611"/>
              <a:gd name="connsiteY20" fmla="*/ 0 h 4464050"/>
              <a:gd name="connsiteX21" fmla="*/ 2172952 w 4457611"/>
              <a:gd name="connsiteY21" fmla="*/ 570628 h 4464050"/>
              <a:gd name="connsiteX22" fmla="*/ 2172952 w 4457611"/>
              <a:gd name="connsiteY22" fmla="*/ 3893320 h 4464050"/>
              <a:gd name="connsiteX23" fmla="*/ 1671451 w 4457611"/>
              <a:gd name="connsiteY23" fmla="*/ 4464050 h 4464050"/>
              <a:gd name="connsiteX24" fmla="*/ 1670146 w 4457611"/>
              <a:gd name="connsiteY24" fmla="*/ 4464050 h 4464050"/>
              <a:gd name="connsiteX25" fmla="*/ 1670146 w 4457611"/>
              <a:gd name="connsiteY25" fmla="*/ 0 h 4464050"/>
              <a:gd name="connsiteX26" fmla="*/ 921583 w 4457611"/>
              <a:gd name="connsiteY26" fmla="*/ 0 h 4464050"/>
              <a:gd name="connsiteX27" fmla="*/ 923336 w 4457611"/>
              <a:gd name="connsiteY27" fmla="*/ 0 h 4464050"/>
              <a:gd name="connsiteX28" fmla="*/ 1553109 w 4457611"/>
              <a:gd name="connsiteY28" fmla="*/ 570628 h 4464050"/>
              <a:gd name="connsiteX29" fmla="*/ 1553109 w 4457611"/>
              <a:gd name="connsiteY29" fmla="*/ 3893320 h 4464050"/>
              <a:gd name="connsiteX30" fmla="*/ 923222 w 4457611"/>
              <a:gd name="connsiteY30" fmla="*/ 4464050 h 4464050"/>
              <a:gd name="connsiteX31" fmla="*/ 921583 w 4457611"/>
              <a:gd name="connsiteY31" fmla="*/ 4464050 h 4464050"/>
              <a:gd name="connsiteX32" fmla="*/ 921583 w 4457611"/>
              <a:gd name="connsiteY32" fmla="*/ 0 h 4464050"/>
              <a:gd name="connsiteX33" fmla="*/ 804644 w 4457611"/>
              <a:gd name="connsiteY33" fmla="*/ 3893419 h 4464050"/>
              <a:gd name="connsiteX34" fmla="*/ 0 w 4457611"/>
              <a:gd name="connsiteY34" fmla="*/ 0 h 4464050"/>
              <a:gd name="connsiteX35" fmla="*/ 804644 w 4457611"/>
              <a:gd name="connsiteY35" fmla="*/ 3893419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0 h 4464050"/>
              <a:gd name="connsiteX27" fmla="*/ 1753 w 3536028"/>
              <a:gd name="connsiteY27" fmla="*/ 0 h 4464050"/>
              <a:gd name="connsiteX28" fmla="*/ 631526 w 3536028"/>
              <a:gd name="connsiteY28" fmla="*/ 570628 h 4464050"/>
              <a:gd name="connsiteX29" fmla="*/ 631526 w 3536028"/>
              <a:gd name="connsiteY29" fmla="*/ 3893320 h 4464050"/>
              <a:gd name="connsiteX30" fmla="*/ 1639 w 3536028"/>
              <a:gd name="connsiteY30" fmla="*/ 4464050 h 4464050"/>
              <a:gd name="connsiteX31" fmla="*/ 0 w 3536028"/>
              <a:gd name="connsiteY31" fmla="*/ 4464050 h 4464050"/>
              <a:gd name="connsiteX32" fmla="*/ 0 w 3536028"/>
              <a:gd name="connsiteY32" fmla="*/ 0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4464050 h 4464050"/>
              <a:gd name="connsiteX27" fmla="*/ 1753 w 3536028"/>
              <a:gd name="connsiteY27" fmla="*/ 0 h 4464050"/>
              <a:gd name="connsiteX28" fmla="*/ 631526 w 3536028"/>
              <a:gd name="connsiteY28" fmla="*/ 570628 h 4464050"/>
              <a:gd name="connsiteX29" fmla="*/ 631526 w 3536028"/>
              <a:gd name="connsiteY29" fmla="*/ 3893320 h 4464050"/>
              <a:gd name="connsiteX30" fmla="*/ 1639 w 3536028"/>
              <a:gd name="connsiteY30" fmla="*/ 4464050 h 4464050"/>
              <a:gd name="connsiteX31" fmla="*/ 0 w 3536028"/>
              <a:gd name="connsiteY31" fmla="*/ 4464050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4464050 h 4464050"/>
              <a:gd name="connsiteX27" fmla="*/ 1753 w 3536028"/>
              <a:gd name="connsiteY27" fmla="*/ 0 h 4464050"/>
              <a:gd name="connsiteX28" fmla="*/ 631526 w 3536028"/>
              <a:gd name="connsiteY28" fmla="*/ 3893320 h 4464050"/>
              <a:gd name="connsiteX29" fmla="*/ 1639 w 3536028"/>
              <a:gd name="connsiteY29" fmla="*/ 4464050 h 4464050"/>
              <a:gd name="connsiteX30" fmla="*/ 0 w 3536028"/>
              <a:gd name="connsiteY30" fmla="*/ 4464050 h 4464050"/>
              <a:gd name="connsiteX0" fmla="*/ 3563155 w 3563155"/>
              <a:gd name="connsiteY0" fmla="*/ 3569 h 4464050"/>
              <a:gd name="connsiteX1" fmla="*/ 3563155 w 3563155"/>
              <a:gd name="connsiteY1" fmla="*/ 4460478 h 4464050"/>
              <a:gd name="connsiteX2" fmla="*/ 2763543 w 3563155"/>
              <a:gd name="connsiteY2" fmla="*/ 3893419 h 4464050"/>
              <a:gd name="connsiteX3" fmla="*/ 2763543 w 3563155"/>
              <a:gd name="connsiteY3" fmla="*/ 570628 h 4464050"/>
              <a:gd name="connsiteX4" fmla="*/ 3563155 w 3563155"/>
              <a:gd name="connsiteY4" fmla="*/ 3569 h 4464050"/>
              <a:gd name="connsiteX5" fmla="*/ 2644952 w 3563155"/>
              <a:gd name="connsiteY5" fmla="*/ 0 h 4464050"/>
              <a:gd name="connsiteX6" fmla="*/ 2646704 w 3563155"/>
              <a:gd name="connsiteY6" fmla="*/ 0 h 4464050"/>
              <a:gd name="connsiteX7" fmla="*/ 2646704 w 3563155"/>
              <a:gd name="connsiteY7" fmla="*/ 4464050 h 4464050"/>
              <a:gd name="connsiteX8" fmla="*/ 2644955 w 3563155"/>
              <a:gd name="connsiteY8" fmla="*/ 4464050 h 4464050"/>
              <a:gd name="connsiteX9" fmla="*/ 2015177 w 3563155"/>
              <a:gd name="connsiteY9" fmla="*/ 3893419 h 4464050"/>
              <a:gd name="connsiteX10" fmla="*/ 2015177 w 3563155"/>
              <a:gd name="connsiteY10" fmla="*/ 570628 h 4464050"/>
              <a:gd name="connsiteX11" fmla="*/ 2644952 w 3563155"/>
              <a:gd name="connsiteY11" fmla="*/ 0 h 4464050"/>
              <a:gd name="connsiteX12" fmla="*/ 1896745 w 3563155"/>
              <a:gd name="connsiteY12" fmla="*/ 0 h 4464050"/>
              <a:gd name="connsiteX13" fmla="*/ 1898140 w 3563155"/>
              <a:gd name="connsiteY13" fmla="*/ 0 h 4464050"/>
              <a:gd name="connsiteX14" fmla="*/ 1898140 w 3563155"/>
              <a:gd name="connsiteY14" fmla="*/ 4464050 h 4464050"/>
              <a:gd name="connsiteX15" fmla="*/ 1896748 w 3563155"/>
              <a:gd name="connsiteY15" fmla="*/ 4464050 h 4464050"/>
              <a:gd name="connsiteX16" fmla="*/ 1395335 w 3563155"/>
              <a:gd name="connsiteY16" fmla="*/ 3893419 h 4464050"/>
              <a:gd name="connsiteX17" fmla="*/ 1395335 w 3563155"/>
              <a:gd name="connsiteY17" fmla="*/ 570628 h 4464050"/>
              <a:gd name="connsiteX18" fmla="*/ 1896745 w 3563155"/>
              <a:gd name="connsiteY18" fmla="*/ 0 h 4464050"/>
              <a:gd name="connsiteX19" fmla="*/ 775690 w 3563155"/>
              <a:gd name="connsiteY19" fmla="*/ 0 h 4464050"/>
              <a:gd name="connsiteX20" fmla="*/ 777086 w 3563155"/>
              <a:gd name="connsiteY20" fmla="*/ 0 h 4464050"/>
              <a:gd name="connsiteX21" fmla="*/ 1278496 w 3563155"/>
              <a:gd name="connsiteY21" fmla="*/ 570628 h 4464050"/>
              <a:gd name="connsiteX22" fmla="*/ 1278496 w 3563155"/>
              <a:gd name="connsiteY22" fmla="*/ 3893320 h 4464050"/>
              <a:gd name="connsiteX23" fmla="*/ 776995 w 3563155"/>
              <a:gd name="connsiteY23" fmla="*/ 4464050 h 4464050"/>
              <a:gd name="connsiteX24" fmla="*/ 775690 w 3563155"/>
              <a:gd name="connsiteY24" fmla="*/ 4464050 h 4464050"/>
              <a:gd name="connsiteX25" fmla="*/ 775690 w 3563155"/>
              <a:gd name="connsiteY25" fmla="*/ 0 h 4464050"/>
              <a:gd name="connsiteX26" fmla="*/ 27127 w 3563155"/>
              <a:gd name="connsiteY26" fmla="*/ 4464050 h 4464050"/>
              <a:gd name="connsiteX27" fmla="*/ 8 w 3563155"/>
              <a:gd name="connsiteY27" fmla="*/ 28872 h 4464050"/>
              <a:gd name="connsiteX28" fmla="*/ 658653 w 3563155"/>
              <a:gd name="connsiteY28" fmla="*/ 3893320 h 4464050"/>
              <a:gd name="connsiteX29" fmla="*/ 28766 w 3563155"/>
              <a:gd name="connsiteY29" fmla="*/ 4464050 h 4464050"/>
              <a:gd name="connsiteX30" fmla="*/ 27127 w 3563155"/>
              <a:gd name="connsiteY30" fmla="*/ 4464050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4464050 h 4464050"/>
              <a:gd name="connsiteX27" fmla="*/ 631526 w 3536028"/>
              <a:gd name="connsiteY27" fmla="*/ 3893320 h 4464050"/>
              <a:gd name="connsiteX28" fmla="*/ 1639 w 3536028"/>
              <a:gd name="connsiteY28" fmla="*/ 4464050 h 4464050"/>
              <a:gd name="connsiteX29" fmla="*/ 0 w 3536028"/>
              <a:gd name="connsiteY29" fmla="*/ 4464050 h 4464050"/>
              <a:gd name="connsiteX0" fmla="*/ 3534389 w 3534389"/>
              <a:gd name="connsiteY0" fmla="*/ 3569 h 4464050"/>
              <a:gd name="connsiteX1" fmla="*/ 3534389 w 3534389"/>
              <a:gd name="connsiteY1" fmla="*/ 4460478 h 4464050"/>
              <a:gd name="connsiteX2" fmla="*/ 2734777 w 3534389"/>
              <a:gd name="connsiteY2" fmla="*/ 3893419 h 4464050"/>
              <a:gd name="connsiteX3" fmla="*/ 2734777 w 3534389"/>
              <a:gd name="connsiteY3" fmla="*/ 570628 h 4464050"/>
              <a:gd name="connsiteX4" fmla="*/ 3534389 w 3534389"/>
              <a:gd name="connsiteY4" fmla="*/ 3569 h 4464050"/>
              <a:gd name="connsiteX5" fmla="*/ 2616186 w 3534389"/>
              <a:gd name="connsiteY5" fmla="*/ 0 h 4464050"/>
              <a:gd name="connsiteX6" fmla="*/ 2617938 w 3534389"/>
              <a:gd name="connsiteY6" fmla="*/ 0 h 4464050"/>
              <a:gd name="connsiteX7" fmla="*/ 2617938 w 3534389"/>
              <a:gd name="connsiteY7" fmla="*/ 4464050 h 4464050"/>
              <a:gd name="connsiteX8" fmla="*/ 2616189 w 3534389"/>
              <a:gd name="connsiteY8" fmla="*/ 4464050 h 4464050"/>
              <a:gd name="connsiteX9" fmla="*/ 1986411 w 3534389"/>
              <a:gd name="connsiteY9" fmla="*/ 3893419 h 4464050"/>
              <a:gd name="connsiteX10" fmla="*/ 1986411 w 3534389"/>
              <a:gd name="connsiteY10" fmla="*/ 570628 h 4464050"/>
              <a:gd name="connsiteX11" fmla="*/ 2616186 w 3534389"/>
              <a:gd name="connsiteY11" fmla="*/ 0 h 4464050"/>
              <a:gd name="connsiteX12" fmla="*/ 1867979 w 3534389"/>
              <a:gd name="connsiteY12" fmla="*/ 0 h 4464050"/>
              <a:gd name="connsiteX13" fmla="*/ 1869374 w 3534389"/>
              <a:gd name="connsiteY13" fmla="*/ 0 h 4464050"/>
              <a:gd name="connsiteX14" fmla="*/ 1869374 w 3534389"/>
              <a:gd name="connsiteY14" fmla="*/ 4464050 h 4464050"/>
              <a:gd name="connsiteX15" fmla="*/ 1867982 w 3534389"/>
              <a:gd name="connsiteY15" fmla="*/ 4464050 h 4464050"/>
              <a:gd name="connsiteX16" fmla="*/ 1366569 w 3534389"/>
              <a:gd name="connsiteY16" fmla="*/ 3893419 h 4464050"/>
              <a:gd name="connsiteX17" fmla="*/ 1366569 w 3534389"/>
              <a:gd name="connsiteY17" fmla="*/ 570628 h 4464050"/>
              <a:gd name="connsiteX18" fmla="*/ 1867979 w 3534389"/>
              <a:gd name="connsiteY18" fmla="*/ 0 h 4464050"/>
              <a:gd name="connsiteX19" fmla="*/ 746924 w 3534389"/>
              <a:gd name="connsiteY19" fmla="*/ 0 h 4464050"/>
              <a:gd name="connsiteX20" fmla="*/ 748320 w 3534389"/>
              <a:gd name="connsiteY20" fmla="*/ 0 h 4464050"/>
              <a:gd name="connsiteX21" fmla="*/ 1249730 w 3534389"/>
              <a:gd name="connsiteY21" fmla="*/ 570628 h 4464050"/>
              <a:gd name="connsiteX22" fmla="*/ 1249730 w 3534389"/>
              <a:gd name="connsiteY22" fmla="*/ 3893320 h 4464050"/>
              <a:gd name="connsiteX23" fmla="*/ 748229 w 3534389"/>
              <a:gd name="connsiteY23" fmla="*/ 4464050 h 4464050"/>
              <a:gd name="connsiteX24" fmla="*/ 746924 w 3534389"/>
              <a:gd name="connsiteY24" fmla="*/ 4464050 h 4464050"/>
              <a:gd name="connsiteX25" fmla="*/ 746924 w 3534389"/>
              <a:gd name="connsiteY25" fmla="*/ 0 h 4464050"/>
              <a:gd name="connsiteX26" fmla="*/ 0 w 3534389"/>
              <a:gd name="connsiteY26" fmla="*/ 4464050 h 4464050"/>
              <a:gd name="connsiteX27" fmla="*/ 629887 w 3534389"/>
              <a:gd name="connsiteY27" fmla="*/ 3893320 h 4464050"/>
              <a:gd name="connsiteX28" fmla="*/ 0 w 3534389"/>
              <a:gd name="connsiteY28" fmla="*/ 446405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0 h 4464050"/>
              <a:gd name="connsiteX20" fmla="*/ 1396 w 2787465"/>
              <a:gd name="connsiteY20" fmla="*/ 0 h 4464050"/>
              <a:gd name="connsiteX21" fmla="*/ 502806 w 2787465"/>
              <a:gd name="connsiteY21" fmla="*/ 570628 h 4464050"/>
              <a:gd name="connsiteX22" fmla="*/ 502806 w 2787465"/>
              <a:gd name="connsiteY22" fmla="*/ 3893320 h 4464050"/>
              <a:gd name="connsiteX23" fmla="*/ 1305 w 2787465"/>
              <a:gd name="connsiteY23" fmla="*/ 4464050 h 4464050"/>
              <a:gd name="connsiteX24" fmla="*/ 0 w 2787465"/>
              <a:gd name="connsiteY24" fmla="*/ 4464050 h 4464050"/>
              <a:gd name="connsiteX25" fmla="*/ 0 w 2787465"/>
              <a:gd name="connsiteY25" fmla="*/ 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0 h 4464050"/>
              <a:gd name="connsiteX20" fmla="*/ 1396 w 2787465"/>
              <a:gd name="connsiteY20" fmla="*/ 0 h 4464050"/>
              <a:gd name="connsiteX21" fmla="*/ 502806 w 2787465"/>
              <a:gd name="connsiteY21" fmla="*/ 3893320 h 4464050"/>
              <a:gd name="connsiteX22" fmla="*/ 1305 w 2787465"/>
              <a:gd name="connsiteY22" fmla="*/ 4464050 h 4464050"/>
              <a:gd name="connsiteX23" fmla="*/ 0 w 2787465"/>
              <a:gd name="connsiteY23" fmla="*/ 4464050 h 4464050"/>
              <a:gd name="connsiteX24" fmla="*/ 0 w 2787465"/>
              <a:gd name="connsiteY24" fmla="*/ 0 h 4464050"/>
              <a:gd name="connsiteX0" fmla="*/ 2809119 w 2809119"/>
              <a:gd name="connsiteY0" fmla="*/ 3569 h 4464050"/>
              <a:gd name="connsiteX1" fmla="*/ 2809119 w 2809119"/>
              <a:gd name="connsiteY1" fmla="*/ 4460478 h 4464050"/>
              <a:gd name="connsiteX2" fmla="*/ 2009507 w 2809119"/>
              <a:gd name="connsiteY2" fmla="*/ 3893419 h 4464050"/>
              <a:gd name="connsiteX3" fmla="*/ 2009507 w 2809119"/>
              <a:gd name="connsiteY3" fmla="*/ 570628 h 4464050"/>
              <a:gd name="connsiteX4" fmla="*/ 2809119 w 2809119"/>
              <a:gd name="connsiteY4" fmla="*/ 3569 h 4464050"/>
              <a:gd name="connsiteX5" fmla="*/ 1890916 w 2809119"/>
              <a:gd name="connsiteY5" fmla="*/ 0 h 4464050"/>
              <a:gd name="connsiteX6" fmla="*/ 1892668 w 2809119"/>
              <a:gd name="connsiteY6" fmla="*/ 0 h 4464050"/>
              <a:gd name="connsiteX7" fmla="*/ 1892668 w 2809119"/>
              <a:gd name="connsiteY7" fmla="*/ 4464050 h 4464050"/>
              <a:gd name="connsiteX8" fmla="*/ 1890919 w 2809119"/>
              <a:gd name="connsiteY8" fmla="*/ 4464050 h 4464050"/>
              <a:gd name="connsiteX9" fmla="*/ 1261141 w 2809119"/>
              <a:gd name="connsiteY9" fmla="*/ 3893419 h 4464050"/>
              <a:gd name="connsiteX10" fmla="*/ 1261141 w 2809119"/>
              <a:gd name="connsiteY10" fmla="*/ 570628 h 4464050"/>
              <a:gd name="connsiteX11" fmla="*/ 1890916 w 2809119"/>
              <a:gd name="connsiteY11" fmla="*/ 0 h 4464050"/>
              <a:gd name="connsiteX12" fmla="*/ 1142709 w 2809119"/>
              <a:gd name="connsiteY12" fmla="*/ 0 h 4464050"/>
              <a:gd name="connsiteX13" fmla="*/ 1144104 w 2809119"/>
              <a:gd name="connsiteY13" fmla="*/ 0 h 4464050"/>
              <a:gd name="connsiteX14" fmla="*/ 1144104 w 2809119"/>
              <a:gd name="connsiteY14" fmla="*/ 4464050 h 4464050"/>
              <a:gd name="connsiteX15" fmla="*/ 1142712 w 2809119"/>
              <a:gd name="connsiteY15" fmla="*/ 4464050 h 4464050"/>
              <a:gd name="connsiteX16" fmla="*/ 641299 w 2809119"/>
              <a:gd name="connsiteY16" fmla="*/ 3893419 h 4464050"/>
              <a:gd name="connsiteX17" fmla="*/ 641299 w 2809119"/>
              <a:gd name="connsiteY17" fmla="*/ 570628 h 4464050"/>
              <a:gd name="connsiteX18" fmla="*/ 1142709 w 2809119"/>
              <a:gd name="connsiteY18" fmla="*/ 0 h 4464050"/>
              <a:gd name="connsiteX19" fmla="*/ 0 w 2809119"/>
              <a:gd name="connsiteY19" fmla="*/ 7219 h 4464050"/>
              <a:gd name="connsiteX20" fmla="*/ 23050 w 2809119"/>
              <a:gd name="connsiteY20" fmla="*/ 0 h 4464050"/>
              <a:gd name="connsiteX21" fmla="*/ 524460 w 2809119"/>
              <a:gd name="connsiteY21" fmla="*/ 3893320 h 4464050"/>
              <a:gd name="connsiteX22" fmla="*/ 22959 w 2809119"/>
              <a:gd name="connsiteY22" fmla="*/ 4464050 h 4464050"/>
              <a:gd name="connsiteX23" fmla="*/ 21654 w 2809119"/>
              <a:gd name="connsiteY23" fmla="*/ 4464050 h 4464050"/>
              <a:gd name="connsiteX24" fmla="*/ 0 w 2809119"/>
              <a:gd name="connsiteY24" fmla="*/ 7219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4464050 h 4464050"/>
              <a:gd name="connsiteX20" fmla="*/ 1396 w 2787465"/>
              <a:gd name="connsiteY20" fmla="*/ 0 h 4464050"/>
              <a:gd name="connsiteX21" fmla="*/ 502806 w 2787465"/>
              <a:gd name="connsiteY21" fmla="*/ 3893320 h 4464050"/>
              <a:gd name="connsiteX22" fmla="*/ 1305 w 2787465"/>
              <a:gd name="connsiteY22" fmla="*/ 4464050 h 4464050"/>
              <a:gd name="connsiteX23" fmla="*/ 0 w 2787465"/>
              <a:gd name="connsiteY23" fmla="*/ 446405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4464050 h 4464050"/>
              <a:gd name="connsiteX20" fmla="*/ 1396 w 2787465"/>
              <a:gd name="connsiteY20" fmla="*/ 0 h 4464050"/>
              <a:gd name="connsiteX21" fmla="*/ 1305 w 2787465"/>
              <a:gd name="connsiteY21" fmla="*/ 4464050 h 4464050"/>
              <a:gd name="connsiteX22" fmla="*/ 0 w 2787465"/>
              <a:gd name="connsiteY22" fmla="*/ 446405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4464050 h 4464050"/>
              <a:gd name="connsiteX20" fmla="*/ 1305 w 2787465"/>
              <a:gd name="connsiteY20" fmla="*/ 4464050 h 4464050"/>
              <a:gd name="connsiteX21" fmla="*/ 0 w 2787465"/>
              <a:gd name="connsiteY21" fmla="*/ 4464050 h 4464050"/>
              <a:gd name="connsiteX0" fmla="*/ 2167820 w 2167820"/>
              <a:gd name="connsiteY0" fmla="*/ 3569 h 4464050"/>
              <a:gd name="connsiteX1" fmla="*/ 2167820 w 2167820"/>
              <a:gd name="connsiteY1" fmla="*/ 4460478 h 4464050"/>
              <a:gd name="connsiteX2" fmla="*/ 1368208 w 2167820"/>
              <a:gd name="connsiteY2" fmla="*/ 3893419 h 4464050"/>
              <a:gd name="connsiteX3" fmla="*/ 1368208 w 2167820"/>
              <a:gd name="connsiteY3" fmla="*/ 570628 h 4464050"/>
              <a:gd name="connsiteX4" fmla="*/ 2167820 w 2167820"/>
              <a:gd name="connsiteY4" fmla="*/ 3569 h 4464050"/>
              <a:gd name="connsiteX5" fmla="*/ 1249617 w 2167820"/>
              <a:gd name="connsiteY5" fmla="*/ 0 h 4464050"/>
              <a:gd name="connsiteX6" fmla="*/ 1251369 w 2167820"/>
              <a:gd name="connsiteY6" fmla="*/ 0 h 4464050"/>
              <a:gd name="connsiteX7" fmla="*/ 1251369 w 2167820"/>
              <a:gd name="connsiteY7" fmla="*/ 4464050 h 4464050"/>
              <a:gd name="connsiteX8" fmla="*/ 1249620 w 2167820"/>
              <a:gd name="connsiteY8" fmla="*/ 4464050 h 4464050"/>
              <a:gd name="connsiteX9" fmla="*/ 619842 w 2167820"/>
              <a:gd name="connsiteY9" fmla="*/ 3893419 h 4464050"/>
              <a:gd name="connsiteX10" fmla="*/ 619842 w 2167820"/>
              <a:gd name="connsiteY10" fmla="*/ 570628 h 4464050"/>
              <a:gd name="connsiteX11" fmla="*/ 1249617 w 2167820"/>
              <a:gd name="connsiteY11" fmla="*/ 0 h 4464050"/>
              <a:gd name="connsiteX12" fmla="*/ 501410 w 2167820"/>
              <a:gd name="connsiteY12" fmla="*/ 0 h 4464050"/>
              <a:gd name="connsiteX13" fmla="*/ 502805 w 2167820"/>
              <a:gd name="connsiteY13" fmla="*/ 0 h 4464050"/>
              <a:gd name="connsiteX14" fmla="*/ 502805 w 2167820"/>
              <a:gd name="connsiteY14" fmla="*/ 4464050 h 4464050"/>
              <a:gd name="connsiteX15" fmla="*/ 501413 w 2167820"/>
              <a:gd name="connsiteY15" fmla="*/ 4464050 h 4464050"/>
              <a:gd name="connsiteX16" fmla="*/ 0 w 2167820"/>
              <a:gd name="connsiteY16" fmla="*/ 3893419 h 4464050"/>
              <a:gd name="connsiteX17" fmla="*/ 0 w 2167820"/>
              <a:gd name="connsiteY17" fmla="*/ 570628 h 4464050"/>
              <a:gd name="connsiteX18" fmla="*/ 501410 w 2167820"/>
              <a:gd name="connsiteY18" fmla="*/ 0 h 446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167820" h="4464050">
                <a:moveTo>
                  <a:pt x="2167820" y="3569"/>
                </a:moveTo>
                <a:lnTo>
                  <a:pt x="2167820" y="4460478"/>
                </a:lnTo>
                <a:lnTo>
                  <a:pt x="1368208" y="3893419"/>
                </a:lnTo>
                <a:lnTo>
                  <a:pt x="1368208" y="570628"/>
                </a:lnTo>
                <a:lnTo>
                  <a:pt x="2167820" y="3569"/>
                </a:lnTo>
                <a:close/>
                <a:moveTo>
                  <a:pt x="1249617" y="0"/>
                </a:moveTo>
                <a:lnTo>
                  <a:pt x="1251369" y="0"/>
                </a:lnTo>
                <a:lnTo>
                  <a:pt x="1251369" y="4464050"/>
                </a:lnTo>
                <a:lnTo>
                  <a:pt x="1249620" y="4464050"/>
                </a:lnTo>
                <a:lnTo>
                  <a:pt x="619842" y="3893419"/>
                </a:lnTo>
                <a:lnTo>
                  <a:pt x="619842" y="570628"/>
                </a:lnTo>
                <a:lnTo>
                  <a:pt x="1249617" y="0"/>
                </a:lnTo>
                <a:close/>
                <a:moveTo>
                  <a:pt x="501410" y="0"/>
                </a:moveTo>
                <a:lnTo>
                  <a:pt x="502805" y="0"/>
                </a:lnTo>
                <a:lnTo>
                  <a:pt x="502805" y="4464050"/>
                </a:lnTo>
                <a:lnTo>
                  <a:pt x="501413" y="4464050"/>
                </a:lnTo>
                <a:lnTo>
                  <a:pt x="0" y="3893419"/>
                </a:lnTo>
                <a:lnTo>
                  <a:pt x="0" y="570628"/>
                </a:lnTo>
                <a:lnTo>
                  <a:pt x="50141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insert picture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60417610-3925-C985-77B4-41C4C49D7FD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81765" y="428625"/>
            <a:ext cx="1912188" cy="3924299"/>
          </a:xfrm>
          <a:custGeom>
            <a:avLst/>
            <a:gdLst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3541647 w 4459850"/>
              <a:gd name="connsiteY4" fmla="*/ 0 h 4464050"/>
              <a:gd name="connsiteX5" fmla="*/ 3543399 w 4459850"/>
              <a:gd name="connsiteY5" fmla="*/ 0 h 4464050"/>
              <a:gd name="connsiteX6" fmla="*/ 3543399 w 4459850"/>
              <a:gd name="connsiteY6" fmla="*/ 4464050 h 4464050"/>
              <a:gd name="connsiteX7" fmla="*/ 3541650 w 4459850"/>
              <a:gd name="connsiteY7" fmla="*/ 4464050 h 4464050"/>
              <a:gd name="connsiteX8" fmla="*/ 2911872 w 4459850"/>
              <a:gd name="connsiteY8" fmla="*/ 3893419 h 4464050"/>
              <a:gd name="connsiteX9" fmla="*/ 2911872 w 4459850"/>
              <a:gd name="connsiteY9" fmla="*/ 570628 h 4464050"/>
              <a:gd name="connsiteX10" fmla="*/ 2793440 w 4459850"/>
              <a:gd name="connsiteY10" fmla="*/ 0 h 4464050"/>
              <a:gd name="connsiteX11" fmla="*/ 2794835 w 4459850"/>
              <a:gd name="connsiteY11" fmla="*/ 0 h 4464050"/>
              <a:gd name="connsiteX12" fmla="*/ 2794835 w 4459850"/>
              <a:gd name="connsiteY12" fmla="*/ 4464050 h 4464050"/>
              <a:gd name="connsiteX13" fmla="*/ 2793443 w 4459850"/>
              <a:gd name="connsiteY13" fmla="*/ 4464050 h 4464050"/>
              <a:gd name="connsiteX14" fmla="*/ 2292030 w 4459850"/>
              <a:gd name="connsiteY14" fmla="*/ 3893419 h 4464050"/>
              <a:gd name="connsiteX15" fmla="*/ 2292030 w 4459850"/>
              <a:gd name="connsiteY15" fmla="*/ 570628 h 4464050"/>
              <a:gd name="connsiteX16" fmla="*/ 1672385 w 4459850"/>
              <a:gd name="connsiteY16" fmla="*/ 0 h 4464050"/>
              <a:gd name="connsiteX17" fmla="*/ 1673781 w 4459850"/>
              <a:gd name="connsiteY17" fmla="*/ 0 h 4464050"/>
              <a:gd name="connsiteX18" fmla="*/ 2175191 w 4459850"/>
              <a:gd name="connsiteY18" fmla="*/ 570628 h 4464050"/>
              <a:gd name="connsiteX19" fmla="*/ 2175191 w 4459850"/>
              <a:gd name="connsiteY19" fmla="*/ 3893320 h 4464050"/>
              <a:gd name="connsiteX20" fmla="*/ 1673690 w 4459850"/>
              <a:gd name="connsiteY20" fmla="*/ 4464050 h 4464050"/>
              <a:gd name="connsiteX21" fmla="*/ 1672385 w 4459850"/>
              <a:gd name="connsiteY21" fmla="*/ 4464050 h 4464050"/>
              <a:gd name="connsiteX22" fmla="*/ 923822 w 4459850"/>
              <a:gd name="connsiteY22" fmla="*/ 0 h 4464050"/>
              <a:gd name="connsiteX23" fmla="*/ 925575 w 4459850"/>
              <a:gd name="connsiteY23" fmla="*/ 0 h 4464050"/>
              <a:gd name="connsiteX24" fmla="*/ 1555348 w 4459850"/>
              <a:gd name="connsiteY24" fmla="*/ 570628 h 4464050"/>
              <a:gd name="connsiteX25" fmla="*/ 1555348 w 4459850"/>
              <a:gd name="connsiteY25" fmla="*/ 3893320 h 4464050"/>
              <a:gd name="connsiteX26" fmla="*/ 925461 w 4459850"/>
              <a:gd name="connsiteY26" fmla="*/ 4464050 h 4464050"/>
              <a:gd name="connsiteX27" fmla="*/ 923822 w 4459850"/>
              <a:gd name="connsiteY27" fmla="*/ 4464050 h 4464050"/>
              <a:gd name="connsiteX28" fmla="*/ 0 w 4459850"/>
              <a:gd name="connsiteY28" fmla="*/ 0 h 4464050"/>
              <a:gd name="connsiteX29" fmla="*/ 2239 w 4459850"/>
              <a:gd name="connsiteY29" fmla="*/ 0 h 4464050"/>
              <a:gd name="connsiteX30" fmla="*/ 806883 w 4459850"/>
              <a:gd name="connsiteY30" fmla="*/ 570628 h 4464050"/>
              <a:gd name="connsiteX31" fmla="*/ 806883 w 4459850"/>
              <a:gd name="connsiteY31" fmla="*/ 3893419 h 4464050"/>
              <a:gd name="connsiteX32" fmla="*/ 2234 w 4459850"/>
              <a:gd name="connsiteY32" fmla="*/ 4464050 h 4464050"/>
              <a:gd name="connsiteX33" fmla="*/ 0 w 4459850"/>
              <a:gd name="connsiteY33" fmla="*/ 446405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292030 w 4459850"/>
              <a:gd name="connsiteY12" fmla="*/ 570628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2292030 w 4459850"/>
              <a:gd name="connsiteY17" fmla="*/ 570628 h 4464050"/>
              <a:gd name="connsiteX18" fmla="*/ 1672385 w 4459850"/>
              <a:gd name="connsiteY18" fmla="*/ 0 h 4464050"/>
              <a:gd name="connsiteX19" fmla="*/ 1673781 w 4459850"/>
              <a:gd name="connsiteY19" fmla="*/ 0 h 4464050"/>
              <a:gd name="connsiteX20" fmla="*/ 2175191 w 4459850"/>
              <a:gd name="connsiteY20" fmla="*/ 570628 h 4464050"/>
              <a:gd name="connsiteX21" fmla="*/ 2175191 w 4459850"/>
              <a:gd name="connsiteY21" fmla="*/ 3893320 h 4464050"/>
              <a:gd name="connsiteX22" fmla="*/ 1673690 w 4459850"/>
              <a:gd name="connsiteY22" fmla="*/ 4464050 h 4464050"/>
              <a:gd name="connsiteX23" fmla="*/ 1672385 w 4459850"/>
              <a:gd name="connsiteY23" fmla="*/ 4464050 h 4464050"/>
              <a:gd name="connsiteX24" fmla="*/ 1672385 w 4459850"/>
              <a:gd name="connsiteY24" fmla="*/ 0 h 4464050"/>
              <a:gd name="connsiteX25" fmla="*/ 923822 w 4459850"/>
              <a:gd name="connsiteY25" fmla="*/ 0 h 4464050"/>
              <a:gd name="connsiteX26" fmla="*/ 925575 w 4459850"/>
              <a:gd name="connsiteY26" fmla="*/ 0 h 4464050"/>
              <a:gd name="connsiteX27" fmla="*/ 1555348 w 4459850"/>
              <a:gd name="connsiteY27" fmla="*/ 570628 h 4464050"/>
              <a:gd name="connsiteX28" fmla="*/ 1555348 w 4459850"/>
              <a:gd name="connsiteY28" fmla="*/ 3893320 h 4464050"/>
              <a:gd name="connsiteX29" fmla="*/ 925461 w 4459850"/>
              <a:gd name="connsiteY29" fmla="*/ 4464050 h 4464050"/>
              <a:gd name="connsiteX30" fmla="*/ 923822 w 4459850"/>
              <a:gd name="connsiteY30" fmla="*/ 4464050 h 4464050"/>
              <a:gd name="connsiteX31" fmla="*/ 923822 w 4459850"/>
              <a:gd name="connsiteY31" fmla="*/ 0 h 4464050"/>
              <a:gd name="connsiteX32" fmla="*/ 0 w 4459850"/>
              <a:gd name="connsiteY32" fmla="*/ 0 h 4464050"/>
              <a:gd name="connsiteX33" fmla="*/ 2239 w 4459850"/>
              <a:gd name="connsiteY33" fmla="*/ 0 h 4464050"/>
              <a:gd name="connsiteX34" fmla="*/ 806883 w 4459850"/>
              <a:gd name="connsiteY34" fmla="*/ 570628 h 4464050"/>
              <a:gd name="connsiteX35" fmla="*/ 806883 w 4459850"/>
              <a:gd name="connsiteY35" fmla="*/ 3893419 h 4464050"/>
              <a:gd name="connsiteX36" fmla="*/ 2234 w 4459850"/>
              <a:gd name="connsiteY36" fmla="*/ 4464050 h 4464050"/>
              <a:gd name="connsiteX37" fmla="*/ 0 w 4459850"/>
              <a:gd name="connsiteY37" fmla="*/ 4464050 h 4464050"/>
              <a:gd name="connsiteX38" fmla="*/ 0 w 4459850"/>
              <a:gd name="connsiteY38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292030 w 4459850"/>
              <a:gd name="connsiteY12" fmla="*/ 3893419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1672385 w 4459850"/>
              <a:gd name="connsiteY17" fmla="*/ 0 h 4464050"/>
              <a:gd name="connsiteX18" fmla="*/ 1673781 w 4459850"/>
              <a:gd name="connsiteY18" fmla="*/ 0 h 4464050"/>
              <a:gd name="connsiteX19" fmla="*/ 2175191 w 4459850"/>
              <a:gd name="connsiteY19" fmla="*/ 570628 h 4464050"/>
              <a:gd name="connsiteX20" fmla="*/ 2175191 w 4459850"/>
              <a:gd name="connsiteY20" fmla="*/ 3893320 h 4464050"/>
              <a:gd name="connsiteX21" fmla="*/ 1673690 w 4459850"/>
              <a:gd name="connsiteY21" fmla="*/ 4464050 h 4464050"/>
              <a:gd name="connsiteX22" fmla="*/ 1672385 w 4459850"/>
              <a:gd name="connsiteY22" fmla="*/ 4464050 h 4464050"/>
              <a:gd name="connsiteX23" fmla="*/ 1672385 w 4459850"/>
              <a:gd name="connsiteY23" fmla="*/ 0 h 4464050"/>
              <a:gd name="connsiteX24" fmla="*/ 923822 w 4459850"/>
              <a:gd name="connsiteY24" fmla="*/ 0 h 4464050"/>
              <a:gd name="connsiteX25" fmla="*/ 925575 w 4459850"/>
              <a:gd name="connsiteY25" fmla="*/ 0 h 4464050"/>
              <a:gd name="connsiteX26" fmla="*/ 1555348 w 4459850"/>
              <a:gd name="connsiteY26" fmla="*/ 570628 h 4464050"/>
              <a:gd name="connsiteX27" fmla="*/ 1555348 w 4459850"/>
              <a:gd name="connsiteY27" fmla="*/ 3893320 h 4464050"/>
              <a:gd name="connsiteX28" fmla="*/ 925461 w 4459850"/>
              <a:gd name="connsiteY28" fmla="*/ 4464050 h 4464050"/>
              <a:gd name="connsiteX29" fmla="*/ 923822 w 4459850"/>
              <a:gd name="connsiteY29" fmla="*/ 4464050 h 4464050"/>
              <a:gd name="connsiteX30" fmla="*/ 923822 w 4459850"/>
              <a:gd name="connsiteY30" fmla="*/ 0 h 4464050"/>
              <a:gd name="connsiteX31" fmla="*/ 0 w 4459850"/>
              <a:gd name="connsiteY31" fmla="*/ 0 h 4464050"/>
              <a:gd name="connsiteX32" fmla="*/ 2239 w 4459850"/>
              <a:gd name="connsiteY32" fmla="*/ 0 h 4464050"/>
              <a:gd name="connsiteX33" fmla="*/ 806883 w 4459850"/>
              <a:gd name="connsiteY33" fmla="*/ 570628 h 4464050"/>
              <a:gd name="connsiteX34" fmla="*/ 806883 w 4459850"/>
              <a:gd name="connsiteY34" fmla="*/ 3893419 h 4464050"/>
              <a:gd name="connsiteX35" fmla="*/ 2234 w 4459850"/>
              <a:gd name="connsiteY35" fmla="*/ 4464050 h 4464050"/>
              <a:gd name="connsiteX36" fmla="*/ 0 w 4459850"/>
              <a:gd name="connsiteY36" fmla="*/ 4464050 h 4464050"/>
              <a:gd name="connsiteX37" fmla="*/ 0 w 4459850"/>
              <a:gd name="connsiteY37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292030 w 4459850"/>
              <a:gd name="connsiteY12" fmla="*/ 3893419 h 4464050"/>
              <a:gd name="connsiteX13" fmla="*/ 2794835 w 4459850"/>
              <a:gd name="connsiteY13" fmla="*/ 4464050 h 4464050"/>
              <a:gd name="connsiteX14" fmla="*/ 2793443 w 4459850"/>
              <a:gd name="connsiteY14" fmla="*/ 4464050 h 4464050"/>
              <a:gd name="connsiteX15" fmla="*/ 2292030 w 4459850"/>
              <a:gd name="connsiteY15" fmla="*/ 3893419 h 4464050"/>
              <a:gd name="connsiteX16" fmla="*/ 1672385 w 4459850"/>
              <a:gd name="connsiteY16" fmla="*/ 0 h 4464050"/>
              <a:gd name="connsiteX17" fmla="*/ 1673781 w 4459850"/>
              <a:gd name="connsiteY17" fmla="*/ 0 h 4464050"/>
              <a:gd name="connsiteX18" fmla="*/ 2175191 w 4459850"/>
              <a:gd name="connsiteY18" fmla="*/ 570628 h 4464050"/>
              <a:gd name="connsiteX19" fmla="*/ 2175191 w 4459850"/>
              <a:gd name="connsiteY19" fmla="*/ 3893320 h 4464050"/>
              <a:gd name="connsiteX20" fmla="*/ 1673690 w 4459850"/>
              <a:gd name="connsiteY20" fmla="*/ 4464050 h 4464050"/>
              <a:gd name="connsiteX21" fmla="*/ 1672385 w 4459850"/>
              <a:gd name="connsiteY21" fmla="*/ 4464050 h 4464050"/>
              <a:gd name="connsiteX22" fmla="*/ 1672385 w 4459850"/>
              <a:gd name="connsiteY22" fmla="*/ 0 h 4464050"/>
              <a:gd name="connsiteX23" fmla="*/ 923822 w 4459850"/>
              <a:gd name="connsiteY23" fmla="*/ 0 h 4464050"/>
              <a:gd name="connsiteX24" fmla="*/ 925575 w 4459850"/>
              <a:gd name="connsiteY24" fmla="*/ 0 h 4464050"/>
              <a:gd name="connsiteX25" fmla="*/ 1555348 w 4459850"/>
              <a:gd name="connsiteY25" fmla="*/ 570628 h 4464050"/>
              <a:gd name="connsiteX26" fmla="*/ 1555348 w 4459850"/>
              <a:gd name="connsiteY26" fmla="*/ 3893320 h 4464050"/>
              <a:gd name="connsiteX27" fmla="*/ 925461 w 4459850"/>
              <a:gd name="connsiteY27" fmla="*/ 4464050 h 4464050"/>
              <a:gd name="connsiteX28" fmla="*/ 923822 w 4459850"/>
              <a:gd name="connsiteY28" fmla="*/ 4464050 h 4464050"/>
              <a:gd name="connsiteX29" fmla="*/ 923822 w 4459850"/>
              <a:gd name="connsiteY29" fmla="*/ 0 h 4464050"/>
              <a:gd name="connsiteX30" fmla="*/ 0 w 4459850"/>
              <a:gd name="connsiteY30" fmla="*/ 0 h 4464050"/>
              <a:gd name="connsiteX31" fmla="*/ 2239 w 4459850"/>
              <a:gd name="connsiteY31" fmla="*/ 0 h 4464050"/>
              <a:gd name="connsiteX32" fmla="*/ 806883 w 4459850"/>
              <a:gd name="connsiteY32" fmla="*/ 570628 h 4464050"/>
              <a:gd name="connsiteX33" fmla="*/ 806883 w 4459850"/>
              <a:gd name="connsiteY33" fmla="*/ 3893419 h 4464050"/>
              <a:gd name="connsiteX34" fmla="*/ 2234 w 4459850"/>
              <a:gd name="connsiteY34" fmla="*/ 4464050 h 4464050"/>
              <a:gd name="connsiteX35" fmla="*/ 0 w 4459850"/>
              <a:gd name="connsiteY35" fmla="*/ 4464050 h 4464050"/>
              <a:gd name="connsiteX36" fmla="*/ 0 w 4459850"/>
              <a:gd name="connsiteY36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793443 w 4459850"/>
              <a:gd name="connsiteY12" fmla="*/ 4464050 h 4464050"/>
              <a:gd name="connsiteX13" fmla="*/ 2794835 w 4459850"/>
              <a:gd name="connsiteY13" fmla="*/ 4464050 h 4464050"/>
              <a:gd name="connsiteX14" fmla="*/ 2793443 w 4459850"/>
              <a:gd name="connsiteY14" fmla="*/ 4464050 h 4464050"/>
              <a:gd name="connsiteX15" fmla="*/ 1672385 w 4459850"/>
              <a:gd name="connsiteY15" fmla="*/ 0 h 4464050"/>
              <a:gd name="connsiteX16" fmla="*/ 1673781 w 4459850"/>
              <a:gd name="connsiteY16" fmla="*/ 0 h 4464050"/>
              <a:gd name="connsiteX17" fmla="*/ 2175191 w 4459850"/>
              <a:gd name="connsiteY17" fmla="*/ 570628 h 4464050"/>
              <a:gd name="connsiteX18" fmla="*/ 2175191 w 4459850"/>
              <a:gd name="connsiteY18" fmla="*/ 3893320 h 4464050"/>
              <a:gd name="connsiteX19" fmla="*/ 1673690 w 4459850"/>
              <a:gd name="connsiteY19" fmla="*/ 4464050 h 4464050"/>
              <a:gd name="connsiteX20" fmla="*/ 1672385 w 4459850"/>
              <a:gd name="connsiteY20" fmla="*/ 4464050 h 4464050"/>
              <a:gd name="connsiteX21" fmla="*/ 1672385 w 4459850"/>
              <a:gd name="connsiteY21" fmla="*/ 0 h 4464050"/>
              <a:gd name="connsiteX22" fmla="*/ 923822 w 4459850"/>
              <a:gd name="connsiteY22" fmla="*/ 0 h 4464050"/>
              <a:gd name="connsiteX23" fmla="*/ 925575 w 4459850"/>
              <a:gd name="connsiteY23" fmla="*/ 0 h 4464050"/>
              <a:gd name="connsiteX24" fmla="*/ 1555348 w 4459850"/>
              <a:gd name="connsiteY24" fmla="*/ 570628 h 4464050"/>
              <a:gd name="connsiteX25" fmla="*/ 1555348 w 4459850"/>
              <a:gd name="connsiteY25" fmla="*/ 3893320 h 4464050"/>
              <a:gd name="connsiteX26" fmla="*/ 925461 w 4459850"/>
              <a:gd name="connsiteY26" fmla="*/ 4464050 h 4464050"/>
              <a:gd name="connsiteX27" fmla="*/ 923822 w 4459850"/>
              <a:gd name="connsiteY27" fmla="*/ 4464050 h 4464050"/>
              <a:gd name="connsiteX28" fmla="*/ 923822 w 4459850"/>
              <a:gd name="connsiteY28" fmla="*/ 0 h 4464050"/>
              <a:gd name="connsiteX29" fmla="*/ 0 w 4459850"/>
              <a:gd name="connsiteY29" fmla="*/ 0 h 4464050"/>
              <a:gd name="connsiteX30" fmla="*/ 2239 w 4459850"/>
              <a:gd name="connsiteY30" fmla="*/ 0 h 4464050"/>
              <a:gd name="connsiteX31" fmla="*/ 806883 w 4459850"/>
              <a:gd name="connsiteY31" fmla="*/ 570628 h 4464050"/>
              <a:gd name="connsiteX32" fmla="*/ 806883 w 4459850"/>
              <a:gd name="connsiteY32" fmla="*/ 3893419 h 4464050"/>
              <a:gd name="connsiteX33" fmla="*/ 2234 w 4459850"/>
              <a:gd name="connsiteY33" fmla="*/ 4464050 h 4464050"/>
              <a:gd name="connsiteX34" fmla="*/ 0 w 4459850"/>
              <a:gd name="connsiteY34" fmla="*/ 4464050 h 4464050"/>
              <a:gd name="connsiteX35" fmla="*/ 0 w 4459850"/>
              <a:gd name="connsiteY35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1672385 w 4459850"/>
              <a:gd name="connsiteY12" fmla="*/ 0 h 4464050"/>
              <a:gd name="connsiteX13" fmla="*/ 1673781 w 4459850"/>
              <a:gd name="connsiteY13" fmla="*/ 0 h 4464050"/>
              <a:gd name="connsiteX14" fmla="*/ 2175191 w 4459850"/>
              <a:gd name="connsiteY14" fmla="*/ 570628 h 4464050"/>
              <a:gd name="connsiteX15" fmla="*/ 2175191 w 4459850"/>
              <a:gd name="connsiteY15" fmla="*/ 3893320 h 4464050"/>
              <a:gd name="connsiteX16" fmla="*/ 1673690 w 4459850"/>
              <a:gd name="connsiteY16" fmla="*/ 4464050 h 4464050"/>
              <a:gd name="connsiteX17" fmla="*/ 1672385 w 4459850"/>
              <a:gd name="connsiteY17" fmla="*/ 4464050 h 4464050"/>
              <a:gd name="connsiteX18" fmla="*/ 1672385 w 4459850"/>
              <a:gd name="connsiteY18" fmla="*/ 0 h 4464050"/>
              <a:gd name="connsiteX19" fmla="*/ 923822 w 4459850"/>
              <a:gd name="connsiteY19" fmla="*/ 0 h 4464050"/>
              <a:gd name="connsiteX20" fmla="*/ 925575 w 4459850"/>
              <a:gd name="connsiteY20" fmla="*/ 0 h 4464050"/>
              <a:gd name="connsiteX21" fmla="*/ 1555348 w 4459850"/>
              <a:gd name="connsiteY21" fmla="*/ 570628 h 4464050"/>
              <a:gd name="connsiteX22" fmla="*/ 1555348 w 4459850"/>
              <a:gd name="connsiteY22" fmla="*/ 3893320 h 4464050"/>
              <a:gd name="connsiteX23" fmla="*/ 925461 w 4459850"/>
              <a:gd name="connsiteY23" fmla="*/ 4464050 h 4464050"/>
              <a:gd name="connsiteX24" fmla="*/ 923822 w 4459850"/>
              <a:gd name="connsiteY24" fmla="*/ 4464050 h 4464050"/>
              <a:gd name="connsiteX25" fmla="*/ 923822 w 4459850"/>
              <a:gd name="connsiteY25" fmla="*/ 0 h 4464050"/>
              <a:gd name="connsiteX26" fmla="*/ 0 w 4459850"/>
              <a:gd name="connsiteY26" fmla="*/ 0 h 4464050"/>
              <a:gd name="connsiteX27" fmla="*/ 2239 w 4459850"/>
              <a:gd name="connsiteY27" fmla="*/ 0 h 4464050"/>
              <a:gd name="connsiteX28" fmla="*/ 806883 w 4459850"/>
              <a:gd name="connsiteY28" fmla="*/ 570628 h 4464050"/>
              <a:gd name="connsiteX29" fmla="*/ 806883 w 4459850"/>
              <a:gd name="connsiteY29" fmla="*/ 3893419 h 4464050"/>
              <a:gd name="connsiteX30" fmla="*/ 2234 w 4459850"/>
              <a:gd name="connsiteY30" fmla="*/ 4464050 h 4464050"/>
              <a:gd name="connsiteX31" fmla="*/ 0 w 4459850"/>
              <a:gd name="connsiteY31" fmla="*/ 4464050 h 4464050"/>
              <a:gd name="connsiteX32" fmla="*/ 0 w 4459850"/>
              <a:gd name="connsiteY32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3893419 h 4464050"/>
              <a:gd name="connsiteX9" fmla="*/ 2911872 w 4459850"/>
              <a:gd name="connsiteY9" fmla="*/ 570628 h 4464050"/>
              <a:gd name="connsiteX10" fmla="*/ 3541647 w 4459850"/>
              <a:gd name="connsiteY10" fmla="*/ 0 h 4464050"/>
              <a:gd name="connsiteX11" fmla="*/ 1672385 w 4459850"/>
              <a:gd name="connsiteY11" fmla="*/ 0 h 4464050"/>
              <a:gd name="connsiteX12" fmla="*/ 1673781 w 4459850"/>
              <a:gd name="connsiteY12" fmla="*/ 0 h 4464050"/>
              <a:gd name="connsiteX13" fmla="*/ 2175191 w 4459850"/>
              <a:gd name="connsiteY13" fmla="*/ 570628 h 4464050"/>
              <a:gd name="connsiteX14" fmla="*/ 2175191 w 4459850"/>
              <a:gd name="connsiteY14" fmla="*/ 3893320 h 4464050"/>
              <a:gd name="connsiteX15" fmla="*/ 1673690 w 4459850"/>
              <a:gd name="connsiteY15" fmla="*/ 4464050 h 4464050"/>
              <a:gd name="connsiteX16" fmla="*/ 1672385 w 4459850"/>
              <a:gd name="connsiteY16" fmla="*/ 4464050 h 4464050"/>
              <a:gd name="connsiteX17" fmla="*/ 1672385 w 4459850"/>
              <a:gd name="connsiteY17" fmla="*/ 0 h 4464050"/>
              <a:gd name="connsiteX18" fmla="*/ 923822 w 4459850"/>
              <a:gd name="connsiteY18" fmla="*/ 0 h 4464050"/>
              <a:gd name="connsiteX19" fmla="*/ 925575 w 4459850"/>
              <a:gd name="connsiteY19" fmla="*/ 0 h 4464050"/>
              <a:gd name="connsiteX20" fmla="*/ 1555348 w 4459850"/>
              <a:gd name="connsiteY20" fmla="*/ 570628 h 4464050"/>
              <a:gd name="connsiteX21" fmla="*/ 1555348 w 4459850"/>
              <a:gd name="connsiteY21" fmla="*/ 3893320 h 4464050"/>
              <a:gd name="connsiteX22" fmla="*/ 925461 w 4459850"/>
              <a:gd name="connsiteY22" fmla="*/ 4464050 h 4464050"/>
              <a:gd name="connsiteX23" fmla="*/ 923822 w 4459850"/>
              <a:gd name="connsiteY23" fmla="*/ 4464050 h 4464050"/>
              <a:gd name="connsiteX24" fmla="*/ 923822 w 4459850"/>
              <a:gd name="connsiteY24" fmla="*/ 0 h 4464050"/>
              <a:gd name="connsiteX25" fmla="*/ 0 w 4459850"/>
              <a:gd name="connsiteY25" fmla="*/ 0 h 4464050"/>
              <a:gd name="connsiteX26" fmla="*/ 2239 w 4459850"/>
              <a:gd name="connsiteY26" fmla="*/ 0 h 4464050"/>
              <a:gd name="connsiteX27" fmla="*/ 806883 w 4459850"/>
              <a:gd name="connsiteY27" fmla="*/ 570628 h 4464050"/>
              <a:gd name="connsiteX28" fmla="*/ 806883 w 4459850"/>
              <a:gd name="connsiteY28" fmla="*/ 3893419 h 4464050"/>
              <a:gd name="connsiteX29" fmla="*/ 2234 w 4459850"/>
              <a:gd name="connsiteY29" fmla="*/ 4464050 h 4464050"/>
              <a:gd name="connsiteX30" fmla="*/ 0 w 4459850"/>
              <a:gd name="connsiteY30" fmla="*/ 4464050 h 4464050"/>
              <a:gd name="connsiteX31" fmla="*/ 0 w 4459850"/>
              <a:gd name="connsiteY31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570628 h 4464050"/>
              <a:gd name="connsiteX9" fmla="*/ 3541647 w 4459850"/>
              <a:gd name="connsiteY9" fmla="*/ 0 h 4464050"/>
              <a:gd name="connsiteX10" fmla="*/ 1672385 w 4459850"/>
              <a:gd name="connsiteY10" fmla="*/ 0 h 4464050"/>
              <a:gd name="connsiteX11" fmla="*/ 1673781 w 4459850"/>
              <a:gd name="connsiteY11" fmla="*/ 0 h 4464050"/>
              <a:gd name="connsiteX12" fmla="*/ 2175191 w 4459850"/>
              <a:gd name="connsiteY12" fmla="*/ 570628 h 4464050"/>
              <a:gd name="connsiteX13" fmla="*/ 2175191 w 4459850"/>
              <a:gd name="connsiteY13" fmla="*/ 3893320 h 4464050"/>
              <a:gd name="connsiteX14" fmla="*/ 1673690 w 4459850"/>
              <a:gd name="connsiteY14" fmla="*/ 4464050 h 4464050"/>
              <a:gd name="connsiteX15" fmla="*/ 1672385 w 4459850"/>
              <a:gd name="connsiteY15" fmla="*/ 4464050 h 4464050"/>
              <a:gd name="connsiteX16" fmla="*/ 1672385 w 4459850"/>
              <a:gd name="connsiteY16" fmla="*/ 0 h 4464050"/>
              <a:gd name="connsiteX17" fmla="*/ 923822 w 4459850"/>
              <a:gd name="connsiteY17" fmla="*/ 0 h 4464050"/>
              <a:gd name="connsiteX18" fmla="*/ 925575 w 4459850"/>
              <a:gd name="connsiteY18" fmla="*/ 0 h 4464050"/>
              <a:gd name="connsiteX19" fmla="*/ 1555348 w 4459850"/>
              <a:gd name="connsiteY19" fmla="*/ 570628 h 4464050"/>
              <a:gd name="connsiteX20" fmla="*/ 1555348 w 4459850"/>
              <a:gd name="connsiteY20" fmla="*/ 3893320 h 4464050"/>
              <a:gd name="connsiteX21" fmla="*/ 925461 w 4459850"/>
              <a:gd name="connsiteY21" fmla="*/ 4464050 h 4464050"/>
              <a:gd name="connsiteX22" fmla="*/ 923822 w 4459850"/>
              <a:gd name="connsiteY22" fmla="*/ 4464050 h 4464050"/>
              <a:gd name="connsiteX23" fmla="*/ 923822 w 4459850"/>
              <a:gd name="connsiteY23" fmla="*/ 0 h 4464050"/>
              <a:gd name="connsiteX24" fmla="*/ 0 w 4459850"/>
              <a:gd name="connsiteY24" fmla="*/ 0 h 4464050"/>
              <a:gd name="connsiteX25" fmla="*/ 2239 w 4459850"/>
              <a:gd name="connsiteY25" fmla="*/ 0 h 4464050"/>
              <a:gd name="connsiteX26" fmla="*/ 806883 w 4459850"/>
              <a:gd name="connsiteY26" fmla="*/ 570628 h 4464050"/>
              <a:gd name="connsiteX27" fmla="*/ 806883 w 4459850"/>
              <a:gd name="connsiteY27" fmla="*/ 3893419 h 4464050"/>
              <a:gd name="connsiteX28" fmla="*/ 2234 w 4459850"/>
              <a:gd name="connsiteY28" fmla="*/ 4464050 h 4464050"/>
              <a:gd name="connsiteX29" fmla="*/ 0 w 4459850"/>
              <a:gd name="connsiteY29" fmla="*/ 4464050 h 4464050"/>
              <a:gd name="connsiteX30" fmla="*/ 0 w 4459850"/>
              <a:gd name="connsiteY30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19994 w 4459850"/>
              <a:gd name="connsiteY5" fmla="*/ 28871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570628 h 4464050"/>
              <a:gd name="connsiteX9" fmla="*/ 3519994 w 4459850"/>
              <a:gd name="connsiteY9" fmla="*/ 28871 h 4464050"/>
              <a:gd name="connsiteX10" fmla="*/ 1672385 w 4459850"/>
              <a:gd name="connsiteY10" fmla="*/ 0 h 4464050"/>
              <a:gd name="connsiteX11" fmla="*/ 1673781 w 4459850"/>
              <a:gd name="connsiteY11" fmla="*/ 0 h 4464050"/>
              <a:gd name="connsiteX12" fmla="*/ 2175191 w 4459850"/>
              <a:gd name="connsiteY12" fmla="*/ 570628 h 4464050"/>
              <a:gd name="connsiteX13" fmla="*/ 2175191 w 4459850"/>
              <a:gd name="connsiteY13" fmla="*/ 3893320 h 4464050"/>
              <a:gd name="connsiteX14" fmla="*/ 1673690 w 4459850"/>
              <a:gd name="connsiteY14" fmla="*/ 4464050 h 4464050"/>
              <a:gd name="connsiteX15" fmla="*/ 1672385 w 4459850"/>
              <a:gd name="connsiteY15" fmla="*/ 4464050 h 4464050"/>
              <a:gd name="connsiteX16" fmla="*/ 1672385 w 4459850"/>
              <a:gd name="connsiteY16" fmla="*/ 0 h 4464050"/>
              <a:gd name="connsiteX17" fmla="*/ 923822 w 4459850"/>
              <a:gd name="connsiteY17" fmla="*/ 0 h 4464050"/>
              <a:gd name="connsiteX18" fmla="*/ 925575 w 4459850"/>
              <a:gd name="connsiteY18" fmla="*/ 0 h 4464050"/>
              <a:gd name="connsiteX19" fmla="*/ 1555348 w 4459850"/>
              <a:gd name="connsiteY19" fmla="*/ 570628 h 4464050"/>
              <a:gd name="connsiteX20" fmla="*/ 1555348 w 4459850"/>
              <a:gd name="connsiteY20" fmla="*/ 3893320 h 4464050"/>
              <a:gd name="connsiteX21" fmla="*/ 925461 w 4459850"/>
              <a:gd name="connsiteY21" fmla="*/ 4464050 h 4464050"/>
              <a:gd name="connsiteX22" fmla="*/ 923822 w 4459850"/>
              <a:gd name="connsiteY22" fmla="*/ 4464050 h 4464050"/>
              <a:gd name="connsiteX23" fmla="*/ 923822 w 4459850"/>
              <a:gd name="connsiteY23" fmla="*/ 0 h 4464050"/>
              <a:gd name="connsiteX24" fmla="*/ 0 w 4459850"/>
              <a:gd name="connsiteY24" fmla="*/ 0 h 4464050"/>
              <a:gd name="connsiteX25" fmla="*/ 2239 w 4459850"/>
              <a:gd name="connsiteY25" fmla="*/ 0 h 4464050"/>
              <a:gd name="connsiteX26" fmla="*/ 806883 w 4459850"/>
              <a:gd name="connsiteY26" fmla="*/ 570628 h 4464050"/>
              <a:gd name="connsiteX27" fmla="*/ 806883 w 4459850"/>
              <a:gd name="connsiteY27" fmla="*/ 3893419 h 4464050"/>
              <a:gd name="connsiteX28" fmla="*/ 2234 w 4459850"/>
              <a:gd name="connsiteY28" fmla="*/ 4464050 h 4464050"/>
              <a:gd name="connsiteX29" fmla="*/ 0 w 4459850"/>
              <a:gd name="connsiteY29" fmla="*/ 4464050 h 4464050"/>
              <a:gd name="connsiteX30" fmla="*/ 0 w 4459850"/>
              <a:gd name="connsiteY30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2911872 w 4459850"/>
              <a:gd name="connsiteY5" fmla="*/ 570628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570628 h 4464050"/>
              <a:gd name="connsiteX9" fmla="*/ 1672385 w 4459850"/>
              <a:gd name="connsiteY9" fmla="*/ 0 h 4464050"/>
              <a:gd name="connsiteX10" fmla="*/ 1673781 w 4459850"/>
              <a:gd name="connsiteY10" fmla="*/ 0 h 4464050"/>
              <a:gd name="connsiteX11" fmla="*/ 2175191 w 4459850"/>
              <a:gd name="connsiteY11" fmla="*/ 570628 h 4464050"/>
              <a:gd name="connsiteX12" fmla="*/ 2175191 w 4459850"/>
              <a:gd name="connsiteY12" fmla="*/ 3893320 h 4464050"/>
              <a:gd name="connsiteX13" fmla="*/ 1673690 w 4459850"/>
              <a:gd name="connsiteY13" fmla="*/ 4464050 h 4464050"/>
              <a:gd name="connsiteX14" fmla="*/ 1672385 w 4459850"/>
              <a:gd name="connsiteY14" fmla="*/ 4464050 h 4464050"/>
              <a:gd name="connsiteX15" fmla="*/ 1672385 w 4459850"/>
              <a:gd name="connsiteY15" fmla="*/ 0 h 4464050"/>
              <a:gd name="connsiteX16" fmla="*/ 923822 w 4459850"/>
              <a:gd name="connsiteY16" fmla="*/ 0 h 4464050"/>
              <a:gd name="connsiteX17" fmla="*/ 925575 w 4459850"/>
              <a:gd name="connsiteY17" fmla="*/ 0 h 4464050"/>
              <a:gd name="connsiteX18" fmla="*/ 1555348 w 4459850"/>
              <a:gd name="connsiteY18" fmla="*/ 570628 h 4464050"/>
              <a:gd name="connsiteX19" fmla="*/ 1555348 w 4459850"/>
              <a:gd name="connsiteY19" fmla="*/ 3893320 h 4464050"/>
              <a:gd name="connsiteX20" fmla="*/ 925461 w 4459850"/>
              <a:gd name="connsiteY20" fmla="*/ 4464050 h 4464050"/>
              <a:gd name="connsiteX21" fmla="*/ 923822 w 4459850"/>
              <a:gd name="connsiteY21" fmla="*/ 4464050 h 4464050"/>
              <a:gd name="connsiteX22" fmla="*/ 923822 w 4459850"/>
              <a:gd name="connsiteY22" fmla="*/ 0 h 4464050"/>
              <a:gd name="connsiteX23" fmla="*/ 0 w 4459850"/>
              <a:gd name="connsiteY23" fmla="*/ 0 h 4464050"/>
              <a:gd name="connsiteX24" fmla="*/ 2239 w 4459850"/>
              <a:gd name="connsiteY24" fmla="*/ 0 h 4464050"/>
              <a:gd name="connsiteX25" fmla="*/ 806883 w 4459850"/>
              <a:gd name="connsiteY25" fmla="*/ 570628 h 4464050"/>
              <a:gd name="connsiteX26" fmla="*/ 806883 w 4459850"/>
              <a:gd name="connsiteY26" fmla="*/ 3893419 h 4464050"/>
              <a:gd name="connsiteX27" fmla="*/ 2234 w 4459850"/>
              <a:gd name="connsiteY27" fmla="*/ 4464050 h 4464050"/>
              <a:gd name="connsiteX28" fmla="*/ 0 w 4459850"/>
              <a:gd name="connsiteY28" fmla="*/ 4464050 h 4464050"/>
              <a:gd name="connsiteX29" fmla="*/ 0 w 4459850"/>
              <a:gd name="connsiteY29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2911872 w 4459850"/>
              <a:gd name="connsiteY5" fmla="*/ 570628 h 4464050"/>
              <a:gd name="connsiteX6" fmla="*/ 3543399 w 4459850"/>
              <a:gd name="connsiteY6" fmla="*/ 4464050 h 4464050"/>
              <a:gd name="connsiteX7" fmla="*/ 2911872 w 4459850"/>
              <a:gd name="connsiteY7" fmla="*/ 570628 h 4464050"/>
              <a:gd name="connsiteX8" fmla="*/ 1672385 w 4459850"/>
              <a:gd name="connsiteY8" fmla="*/ 0 h 4464050"/>
              <a:gd name="connsiteX9" fmla="*/ 1673781 w 4459850"/>
              <a:gd name="connsiteY9" fmla="*/ 0 h 4464050"/>
              <a:gd name="connsiteX10" fmla="*/ 2175191 w 4459850"/>
              <a:gd name="connsiteY10" fmla="*/ 570628 h 4464050"/>
              <a:gd name="connsiteX11" fmla="*/ 2175191 w 4459850"/>
              <a:gd name="connsiteY11" fmla="*/ 3893320 h 4464050"/>
              <a:gd name="connsiteX12" fmla="*/ 1673690 w 4459850"/>
              <a:gd name="connsiteY12" fmla="*/ 4464050 h 4464050"/>
              <a:gd name="connsiteX13" fmla="*/ 1672385 w 4459850"/>
              <a:gd name="connsiteY13" fmla="*/ 4464050 h 4464050"/>
              <a:gd name="connsiteX14" fmla="*/ 1672385 w 4459850"/>
              <a:gd name="connsiteY14" fmla="*/ 0 h 4464050"/>
              <a:gd name="connsiteX15" fmla="*/ 923822 w 4459850"/>
              <a:gd name="connsiteY15" fmla="*/ 0 h 4464050"/>
              <a:gd name="connsiteX16" fmla="*/ 925575 w 4459850"/>
              <a:gd name="connsiteY16" fmla="*/ 0 h 4464050"/>
              <a:gd name="connsiteX17" fmla="*/ 1555348 w 4459850"/>
              <a:gd name="connsiteY17" fmla="*/ 570628 h 4464050"/>
              <a:gd name="connsiteX18" fmla="*/ 1555348 w 4459850"/>
              <a:gd name="connsiteY18" fmla="*/ 3893320 h 4464050"/>
              <a:gd name="connsiteX19" fmla="*/ 925461 w 4459850"/>
              <a:gd name="connsiteY19" fmla="*/ 4464050 h 4464050"/>
              <a:gd name="connsiteX20" fmla="*/ 923822 w 4459850"/>
              <a:gd name="connsiteY20" fmla="*/ 4464050 h 4464050"/>
              <a:gd name="connsiteX21" fmla="*/ 923822 w 4459850"/>
              <a:gd name="connsiteY21" fmla="*/ 0 h 4464050"/>
              <a:gd name="connsiteX22" fmla="*/ 0 w 4459850"/>
              <a:gd name="connsiteY22" fmla="*/ 0 h 4464050"/>
              <a:gd name="connsiteX23" fmla="*/ 2239 w 4459850"/>
              <a:gd name="connsiteY23" fmla="*/ 0 h 4464050"/>
              <a:gd name="connsiteX24" fmla="*/ 806883 w 4459850"/>
              <a:gd name="connsiteY24" fmla="*/ 570628 h 4464050"/>
              <a:gd name="connsiteX25" fmla="*/ 806883 w 4459850"/>
              <a:gd name="connsiteY25" fmla="*/ 3893419 h 4464050"/>
              <a:gd name="connsiteX26" fmla="*/ 2234 w 4459850"/>
              <a:gd name="connsiteY26" fmla="*/ 4464050 h 4464050"/>
              <a:gd name="connsiteX27" fmla="*/ 0 w 4459850"/>
              <a:gd name="connsiteY27" fmla="*/ 4464050 h 4464050"/>
              <a:gd name="connsiteX28" fmla="*/ 0 w 4459850"/>
              <a:gd name="connsiteY28" fmla="*/ 0 h 4464050"/>
              <a:gd name="connsiteX0" fmla="*/ 3660238 w 4459850"/>
              <a:gd name="connsiteY0" fmla="*/ 570628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2911872 w 4459850"/>
              <a:gd name="connsiteY4" fmla="*/ 570628 h 4464050"/>
              <a:gd name="connsiteX5" fmla="*/ 3543399 w 4459850"/>
              <a:gd name="connsiteY5" fmla="*/ 4464050 h 4464050"/>
              <a:gd name="connsiteX6" fmla="*/ 2911872 w 4459850"/>
              <a:gd name="connsiteY6" fmla="*/ 570628 h 4464050"/>
              <a:gd name="connsiteX7" fmla="*/ 1672385 w 4459850"/>
              <a:gd name="connsiteY7" fmla="*/ 0 h 4464050"/>
              <a:gd name="connsiteX8" fmla="*/ 1673781 w 4459850"/>
              <a:gd name="connsiteY8" fmla="*/ 0 h 4464050"/>
              <a:gd name="connsiteX9" fmla="*/ 2175191 w 4459850"/>
              <a:gd name="connsiteY9" fmla="*/ 570628 h 4464050"/>
              <a:gd name="connsiteX10" fmla="*/ 2175191 w 4459850"/>
              <a:gd name="connsiteY10" fmla="*/ 3893320 h 4464050"/>
              <a:gd name="connsiteX11" fmla="*/ 1673690 w 4459850"/>
              <a:gd name="connsiteY11" fmla="*/ 4464050 h 4464050"/>
              <a:gd name="connsiteX12" fmla="*/ 1672385 w 4459850"/>
              <a:gd name="connsiteY12" fmla="*/ 4464050 h 4464050"/>
              <a:gd name="connsiteX13" fmla="*/ 1672385 w 4459850"/>
              <a:gd name="connsiteY13" fmla="*/ 0 h 4464050"/>
              <a:gd name="connsiteX14" fmla="*/ 923822 w 4459850"/>
              <a:gd name="connsiteY14" fmla="*/ 0 h 4464050"/>
              <a:gd name="connsiteX15" fmla="*/ 925575 w 4459850"/>
              <a:gd name="connsiteY15" fmla="*/ 0 h 4464050"/>
              <a:gd name="connsiteX16" fmla="*/ 1555348 w 4459850"/>
              <a:gd name="connsiteY16" fmla="*/ 570628 h 4464050"/>
              <a:gd name="connsiteX17" fmla="*/ 1555348 w 4459850"/>
              <a:gd name="connsiteY17" fmla="*/ 3893320 h 4464050"/>
              <a:gd name="connsiteX18" fmla="*/ 925461 w 4459850"/>
              <a:gd name="connsiteY18" fmla="*/ 4464050 h 4464050"/>
              <a:gd name="connsiteX19" fmla="*/ 923822 w 4459850"/>
              <a:gd name="connsiteY19" fmla="*/ 4464050 h 4464050"/>
              <a:gd name="connsiteX20" fmla="*/ 923822 w 4459850"/>
              <a:gd name="connsiteY20" fmla="*/ 0 h 4464050"/>
              <a:gd name="connsiteX21" fmla="*/ 0 w 4459850"/>
              <a:gd name="connsiteY21" fmla="*/ 0 h 4464050"/>
              <a:gd name="connsiteX22" fmla="*/ 2239 w 4459850"/>
              <a:gd name="connsiteY22" fmla="*/ 0 h 4464050"/>
              <a:gd name="connsiteX23" fmla="*/ 806883 w 4459850"/>
              <a:gd name="connsiteY23" fmla="*/ 570628 h 4464050"/>
              <a:gd name="connsiteX24" fmla="*/ 806883 w 4459850"/>
              <a:gd name="connsiteY24" fmla="*/ 3893419 h 4464050"/>
              <a:gd name="connsiteX25" fmla="*/ 2234 w 4459850"/>
              <a:gd name="connsiteY25" fmla="*/ 4464050 h 4464050"/>
              <a:gd name="connsiteX26" fmla="*/ 0 w 4459850"/>
              <a:gd name="connsiteY26" fmla="*/ 4464050 h 4464050"/>
              <a:gd name="connsiteX27" fmla="*/ 0 w 4459850"/>
              <a:gd name="connsiteY27" fmla="*/ 0 h 4464050"/>
              <a:gd name="connsiteX0" fmla="*/ 3660238 w 4459850"/>
              <a:gd name="connsiteY0" fmla="*/ 570628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1672385 w 4459850"/>
              <a:gd name="connsiteY4" fmla="*/ 0 h 4464050"/>
              <a:gd name="connsiteX5" fmla="*/ 1673781 w 4459850"/>
              <a:gd name="connsiteY5" fmla="*/ 0 h 4464050"/>
              <a:gd name="connsiteX6" fmla="*/ 2175191 w 4459850"/>
              <a:gd name="connsiteY6" fmla="*/ 570628 h 4464050"/>
              <a:gd name="connsiteX7" fmla="*/ 2175191 w 4459850"/>
              <a:gd name="connsiteY7" fmla="*/ 3893320 h 4464050"/>
              <a:gd name="connsiteX8" fmla="*/ 1673690 w 4459850"/>
              <a:gd name="connsiteY8" fmla="*/ 4464050 h 4464050"/>
              <a:gd name="connsiteX9" fmla="*/ 1672385 w 4459850"/>
              <a:gd name="connsiteY9" fmla="*/ 4464050 h 4464050"/>
              <a:gd name="connsiteX10" fmla="*/ 1672385 w 4459850"/>
              <a:gd name="connsiteY10" fmla="*/ 0 h 4464050"/>
              <a:gd name="connsiteX11" fmla="*/ 923822 w 4459850"/>
              <a:gd name="connsiteY11" fmla="*/ 0 h 4464050"/>
              <a:gd name="connsiteX12" fmla="*/ 925575 w 4459850"/>
              <a:gd name="connsiteY12" fmla="*/ 0 h 4464050"/>
              <a:gd name="connsiteX13" fmla="*/ 1555348 w 4459850"/>
              <a:gd name="connsiteY13" fmla="*/ 570628 h 4464050"/>
              <a:gd name="connsiteX14" fmla="*/ 1555348 w 4459850"/>
              <a:gd name="connsiteY14" fmla="*/ 3893320 h 4464050"/>
              <a:gd name="connsiteX15" fmla="*/ 925461 w 4459850"/>
              <a:gd name="connsiteY15" fmla="*/ 4464050 h 4464050"/>
              <a:gd name="connsiteX16" fmla="*/ 923822 w 4459850"/>
              <a:gd name="connsiteY16" fmla="*/ 4464050 h 4464050"/>
              <a:gd name="connsiteX17" fmla="*/ 923822 w 4459850"/>
              <a:gd name="connsiteY17" fmla="*/ 0 h 4464050"/>
              <a:gd name="connsiteX18" fmla="*/ 0 w 4459850"/>
              <a:gd name="connsiteY18" fmla="*/ 0 h 4464050"/>
              <a:gd name="connsiteX19" fmla="*/ 2239 w 4459850"/>
              <a:gd name="connsiteY19" fmla="*/ 0 h 4464050"/>
              <a:gd name="connsiteX20" fmla="*/ 806883 w 4459850"/>
              <a:gd name="connsiteY20" fmla="*/ 570628 h 4464050"/>
              <a:gd name="connsiteX21" fmla="*/ 806883 w 4459850"/>
              <a:gd name="connsiteY21" fmla="*/ 3893419 h 4464050"/>
              <a:gd name="connsiteX22" fmla="*/ 2234 w 4459850"/>
              <a:gd name="connsiteY22" fmla="*/ 4464050 h 4464050"/>
              <a:gd name="connsiteX23" fmla="*/ 0 w 4459850"/>
              <a:gd name="connsiteY23" fmla="*/ 4464050 h 4464050"/>
              <a:gd name="connsiteX24" fmla="*/ 0 w 4459850"/>
              <a:gd name="connsiteY24" fmla="*/ 0 h 4464050"/>
              <a:gd name="connsiteX0" fmla="*/ 3660238 w 4459850"/>
              <a:gd name="connsiteY0" fmla="*/ 389341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1672385 w 4459850"/>
              <a:gd name="connsiteY3" fmla="*/ 0 h 4464050"/>
              <a:gd name="connsiteX4" fmla="*/ 1673781 w 4459850"/>
              <a:gd name="connsiteY4" fmla="*/ 0 h 4464050"/>
              <a:gd name="connsiteX5" fmla="*/ 2175191 w 4459850"/>
              <a:gd name="connsiteY5" fmla="*/ 570628 h 4464050"/>
              <a:gd name="connsiteX6" fmla="*/ 2175191 w 4459850"/>
              <a:gd name="connsiteY6" fmla="*/ 3893320 h 4464050"/>
              <a:gd name="connsiteX7" fmla="*/ 1673690 w 4459850"/>
              <a:gd name="connsiteY7" fmla="*/ 4464050 h 4464050"/>
              <a:gd name="connsiteX8" fmla="*/ 1672385 w 4459850"/>
              <a:gd name="connsiteY8" fmla="*/ 4464050 h 4464050"/>
              <a:gd name="connsiteX9" fmla="*/ 1672385 w 4459850"/>
              <a:gd name="connsiteY9" fmla="*/ 0 h 4464050"/>
              <a:gd name="connsiteX10" fmla="*/ 923822 w 4459850"/>
              <a:gd name="connsiteY10" fmla="*/ 0 h 4464050"/>
              <a:gd name="connsiteX11" fmla="*/ 925575 w 4459850"/>
              <a:gd name="connsiteY11" fmla="*/ 0 h 4464050"/>
              <a:gd name="connsiteX12" fmla="*/ 1555348 w 4459850"/>
              <a:gd name="connsiteY12" fmla="*/ 570628 h 4464050"/>
              <a:gd name="connsiteX13" fmla="*/ 1555348 w 4459850"/>
              <a:gd name="connsiteY13" fmla="*/ 3893320 h 4464050"/>
              <a:gd name="connsiteX14" fmla="*/ 925461 w 4459850"/>
              <a:gd name="connsiteY14" fmla="*/ 4464050 h 4464050"/>
              <a:gd name="connsiteX15" fmla="*/ 923822 w 4459850"/>
              <a:gd name="connsiteY15" fmla="*/ 4464050 h 4464050"/>
              <a:gd name="connsiteX16" fmla="*/ 923822 w 4459850"/>
              <a:gd name="connsiteY16" fmla="*/ 0 h 4464050"/>
              <a:gd name="connsiteX17" fmla="*/ 0 w 4459850"/>
              <a:gd name="connsiteY17" fmla="*/ 0 h 4464050"/>
              <a:gd name="connsiteX18" fmla="*/ 2239 w 4459850"/>
              <a:gd name="connsiteY18" fmla="*/ 0 h 4464050"/>
              <a:gd name="connsiteX19" fmla="*/ 806883 w 4459850"/>
              <a:gd name="connsiteY19" fmla="*/ 570628 h 4464050"/>
              <a:gd name="connsiteX20" fmla="*/ 806883 w 4459850"/>
              <a:gd name="connsiteY20" fmla="*/ 3893419 h 4464050"/>
              <a:gd name="connsiteX21" fmla="*/ 2234 w 4459850"/>
              <a:gd name="connsiteY21" fmla="*/ 4464050 h 4464050"/>
              <a:gd name="connsiteX22" fmla="*/ 0 w 4459850"/>
              <a:gd name="connsiteY22" fmla="*/ 4464050 h 4464050"/>
              <a:gd name="connsiteX23" fmla="*/ 0 w 4459850"/>
              <a:gd name="connsiteY23" fmla="*/ 0 h 4464050"/>
              <a:gd name="connsiteX0" fmla="*/ 1672385 w 2175191"/>
              <a:gd name="connsiteY0" fmla="*/ 0 h 4464050"/>
              <a:gd name="connsiteX1" fmla="*/ 1673781 w 2175191"/>
              <a:gd name="connsiteY1" fmla="*/ 0 h 4464050"/>
              <a:gd name="connsiteX2" fmla="*/ 2175191 w 2175191"/>
              <a:gd name="connsiteY2" fmla="*/ 570628 h 4464050"/>
              <a:gd name="connsiteX3" fmla="*/ 2175191 w 2175191"/>
              <a:gd name="connsiteY3" fmla="*/ 3893320 h 4464050"/>
              <a:gd name="connsiteX4" fmla="*/ 1673690 w 2175191"/>
              <a:gd name="connsiteY4" fmla="*/ 4464050 h 4464050"/>
              <a:gd name="connsiteX5" fmla="*/ 1672385 w 2175191"/>
              <a:gd name="connsiteY5" fmla="*/ 4464050 h 4464050"/>
              <a:gd name="connsiteX6" fmla="*/ 1672385 w 2175191"/>
              <a:gd name="connsiteY6" fmla="*/ 0 h 4464050"/>
              <a:gd name="connsiteX7" fmla="*/ 923822 w 2175191"/>
              <a:gd name="connsiteY7" fmla="*/ 0 h 4464050"/>
              <a:gd name="connsiteX8" fmla="*/ 925575 w 2175191"/>
              <a:gd name="connsiteY8" fmla="*/ 0 h 4464050"/>
              <a:gd name="connsiteX9" fmla="*/ 1555348 w 2175191"/>
              <a:gd name="connsiteY9" fmla="*/ 570628 h 4464050"/>
              <a:gd name="connsiteX10" fmla="*/ 1555348 w 2175191"/>
              <a:gd name="connsiteY10" fmla="*/ 3893320 h 4464050"/>
              <a:gd name="connsiteX11" fmla="*/ 925461 w 2175191"/>
              <a:gd name="connsiteY11" fmla="*/ 4464050 h 4464050"/>
              <a:gd name="connsiteX12" fmla="*/ 923822 w 2175191"/>
              <a:gd name="connsiteY12" fmla="*/ 4464050 h 4464050"/>
              <a:gd name="connsiteX13" fmla="*/ 923822 w 2175191"/>
              <a:gd name="connsiteY13" fmla="*/ 0 h 4464050"/>
              <a:gd name="connsiteX14" fmla="*/ 0 w 2175191"/>
              <a:gd name="connsiteY14" fmla="*/ 0 h 4464050"/>
              <a:gd name="connsiteX15" fmla="*/ 2239 w 2175191"/>
              <a:gd name="connsiteY15" fmla="*/ 0 h 4464050"/>
              <a:gd name="connsiteX16" fmla="*/ 806883 w 2175191"/>
              <a:gd name="connsiteY16" fmla="*/ 570628 h 4464050"/>
              <a:gd name="connsiteX17" fmla="*/ 806883 w 2175191"/>
              <a:gd name="connsiteY17" fmla="*/ 3893419 h 4464050"/>
              <a:gd name="connsiteX18" fmla="*/ 2234 w 2175191"/>
              <a:gd name="connsiteY18" fmla="*/ 4464050 h 4464050"/>
              <a:gd name="connsiteX19" fmla="*/ 0 w 2175191"/>
              <a:gd name="connsiteY19" fmla="*/ 4464050 h 4464050"/>
              <a:gd name="connsiteX20" fmla="*/ 0 w 2175191"/>
              <a:gd name="connsiteY20" fmla="*/ 0 h 446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175191" h="4464050">
                <a:moveTo>
                  <a:pt x="1672385" y="0"/>
                </a:moveTo>
                <a:lnTo>
                  <a:pt x="1673781" y="0"/>
                </a:lnTo>
                <a:lnTo>
                  <a:pt x="2175191" y="570628"/>
                </a:lnTo>
                <a:lnTo>
                  <a:pt x="2175191" y="3893320"/>
                </a:lnTo>
                <a:lnTo>
                  <a:pt x="1673690" y="4464050"/>
                </a:lnTo>
                <a:lnTo>
                  <a:pt x="1672385" y="4464050"/>
                </a:lnTo>
                <a:lnTo>
                  <a:pt x="1672385" y="0"/>
                </a:lnTo>
                <a:close/>
                <a:moveTo>
                  <a:pt x="923822" y="0"/>
                </a:moveTo>
                <a:lnTo>
                  <a:pt x="925575" y="0"/>
                </a:lnTo>
                <a:lnTo>
                  <a:pt x="1555348" y="570628"/>
                </a:lnTo>
                <a:lnTo>
                  <a:pt x="1555348" y="3893320"/>
                </a:lnTo>
                <a:lnTo>
                  <a:pt x="925461" y="4464050"/>
                </a:lnTo>
                <a:lnTo>
                  <a:pt x="923822" y="4464050"/>
                </a:lnTo>
                <a:lnTo>
                  <a:pt x="923822" y="0"/>
                </a:lnTo>
                <a:close/>
                <a:moveTo>
                  <a:pt x="0" y="0"/>
                </a:moveTo>
                <a:lnTo>
                  <a:pt x="2239" y="0"/>
                </a:lnTo>
                <a:lnTo>
                  <a:pt x="806883" y="570628"/>
                </a:lnTo>
                <a:lnTo>
                  <a:pt x="806883" y="3893419"/>
                </a:lnTo>
                <a:lnTo>
                  <a:pt x="2234" y="4464050"/>
                </a:lnTo>
                <a:lnTo>
                  <a:pt x="0" y="446405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insert pictur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C023564-A8C0-59B7-53F7-E6D3FBAED7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623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094" userDrawn="1">
          <p15:clr>
            <a:srgbClr val="547EBF"/>
          </p15:clr>
        </p15:guide>
        <p15:guide id="3" orient="horz" pos="2822" userDrawn="1">
          <p15:clr>
            <a:srgbClr val="547EBF"/>
          </p15:clr>
        </p15:guide>
        <p15:guide id="4" pos="272" userDrawn="1">
          <p15:clr>
            <a:srgbClr val="547EBF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WallPape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F1D83A4-E367-5E18-1F9C-8CBC8E6299AA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16690" b="-16690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DAAFC87-EB9B-8E38-1FCE-0BA94F1CBC2A}"/>
              </a:ext>
            </a:extLst>
          </p:cNvPr>
          <p:cNvSpPr/>
          <p:nvPr userDrawn="1"/>
        </p:nvSpPr>
        <p:spPr>
          <a:xfrm>
            <a:off x="0" y="1058863"/>
            <a:ext cx="4785582" cy="40846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3560DFD-FF2E-F6E5-BDE1-E6BCDD3196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948437"/>
            <a:ext cx="3918513" cy="128961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divider title</a:t>
            </a:r>
            <a:endParaRPr lang="en-US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71CDD51B-73E1-76FB-FE20-5A21A4A1B9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367294"/>
            <a:ext cx="3918513" cy="896731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D140CF4-719D-C36B-C74F-E5084AB288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800" y="4717794"/>
            <a:ext cx="931835" cy="129600"/>
          </a:xfrm>
          <a:prstGeom prst="rect">
            <a:avLst/>
          </a:prstGeom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A9EACF3-1663-106A-5A3B-9FC283B442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497504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1419225"/>
            <a:ext cx="5454650" cy="11525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360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Add closing statement over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6833" y="2963492"/>
            <a:ext cx="4087814" cy="8807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ln>
                  <a:noFill/>
                </a:ln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subtitle style 20p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0197868-037A-41F2-B094-C3240916F3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042" y="4479725"/>
            <a:ext cx="1475916" cy="432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DA4C76E1-0FF6-1E1D-2FD6-119F1A5101B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582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84">
          <p15:clr>
            <a:srgbClr val="FBAE40"/>
          </p15:clr>
        </p15:guide>
        <p15:guide id="3" orient="horz" pos="554" userDrawn="1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DE1C54E9-58F8-C5C2-0210-221256D6D956}"/>
              </a:ext>
            </a:extLst>
          </p:cNvPr>
          <p:cNvGrpSpPr/>
          <p:nvPr userDrawn="1"/>
        </p:nvGrpSpPr>
        <p:grpSpPr>
          <a:xfrm>
            <a:off x="2316000" y="1540143"/>
            <a:ext cx="4512000" cy="2063214"/>
            <a:chOff x="2316000" y="1566570"/>
            <a:chExt cx="4512000" cy="2063214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70B1684-9852-7DF3-5730-A04105F7EA5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3942000" y="1566570"/>
              <a:ext cx="1260000" cy="1260000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00C42119-8722-3B60-2AAE-AF1121902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316000" y="3341784"/>
              <a:ext cx="4512000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0536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84">
          <p15:clr>
            <a:srgbClr val="FBAE40"/>
          </p15:clr>
        </p15:guide>
        <p15:guide id="3" orient="horz" pos="554" userDrawn="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Product Label Cover -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704107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704107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C023564-A8C0-59B7-53F7-E6D3FBAED7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  <p:pic>
        <p:nvPicPr>
          <p:cNvPr id="7" name="Graphic 25">
            <a:extLst>
              <a:ext uri="{FF2B5EF4-FFF2-40B4-BE49-F238E27FC236}">
                <a16:creationId xmlns:a16="http://schemas.microsoft.com/office/drawing/2014/main" id="{0823AE8E-836A-E923-33BE-7F642DFB70D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4975" y="4483099"/>
            <a:ext cx="1425722" cy="469901"/>
          </a:xfrm>
          <a:prstGeom prst="rect">
            <a:avLst/>
          </a:prstGeom>
        </p:spPr>
      </p:pic>
      <p:sp>
        <p:nvSpPr>
          <p:cNvPr id="5" name="Picture Placeholder 11">
            <a:extLst>
              <a:ext uri="{FF2B5EF4-FFF2-40B4-BE49-F238E27FC236}">
                <a16:creationId xmlns:a16="http://schemas.microsoft.com/office/drawing/2014/main" id="{84DA8362-D30F-485D-0F81-8D4790ABA45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800442" y="428625"/>
            <a:ext cx="1905708" cy="3924299"/>
          </a:xfrm>
          <a:custGeom>
            <a:avLst/>
            <a:gdLst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3541647 w 4459850"/>
              <a:gd name="connsiteY4" fmla="*/ 0 h 4464050"/>
              <a:gd name="connsiteX5" fmla="*/ 3543399 w 4459850"/>
              <a:gd name="connsiteY5" fmla="*/ 0 h 4464050"/>
              <a:gd name="connsiteX6" fmla="*/ 3543399 w 4459850"/>
              <a:gd name="connsiteY6" fmla="*/ 4464050 h 4464050"/>
              <a:gd name="connsiteX7" fmla="*/ 3541650 w 4459850"/>
              <a:gd name="connsiteY7" fmla="*/ 4464050 h 4464050"/>
              <a:gd name="connsiteX8" fmla="*/ 2911872 w 4459850"/>
              <a:gd name="connsiteY8" fmla="*/ 3893419 h 4464050"/>
              <a:gd name="connsiteX9" fmla="*/ 2911872 w 4459850"/>
              <a:gd name="connsiteY9" fmla="*/ 570628 h 4464050"/>
              <a:gd name="connsiteX10" fmla="*/ 2793440 w 4459850"/>
              <a:gd name="connsiteY10" fmla="*/ 0 h 4464050"/>
              <a:gd name="connsiteX11" fmla="*/ 2794835 w 4459850"/>
              <a:gd name="connsiteY11" fmla="*/ 0 h 4464050"/>
              <a:gd name="connsiteX12" fmla="*/ 2794835 w 4459850"/>
              <a:gd name="connsiteY12" fmla="*/ 4464050 h 4464050"/>
              <a:gd name="connsiteX13" fmla="*/ 2793443 w 4459850"/>
              <a:gd name="connsiteY13" fmla="*/ 4464050 h 4464050"/>
              <a:gd name="connsiteX14" fmla="*/ 2292030 w 4459850"/>
              <a:gd name="connsiteY14" fmla="*/ 3893419 h 4464050"/>
              <a:gd name="connsiteX15" fmla="*/ 2292030 w 4459850"/>
              <a:gd name="connsiteY15" fmla="*/ 570628 h 4464050"/>
              <a:gd name="connsiteX16" fmla="*/ 1672385 w 4459850"/>
              <a:gd name="connsiteY16" fmla="*/ 0 h 4464050"/>
              <a:gd name="connsiteX17" fmla="*/ 1673781 w 4459850"/>
              <a:gd name="connsiteY17" fmla="*/ 0 h 4464050"/>
              <a:gd name="connsiteX18" fmla="*/ 2175191 w 4459850"/>
              <a:gd name="connsiteY18" fmla="*/ 570628 h 4464050"/>
              <a:gd name="connsiteX19" fmla="*/ 2175191 w 4459850"/>
              <a:gd name="connsiteY19" fmla="*/ 3893320 h 4464050"/>
              <a:gd name="connsiteX20" fmla="*/ 1673690 w 4459850"/>
              <a:gd name="connsiteY20" fmla="*/ 4464050 h 4464050"/>
              <a:gd name="connsiteX21" fmla="*/ 1672385 w 4459850"/>
              <a:gd name="connsiteY21" fmla="*/ 4464050 h 4464050"/>
              <a:gd name="connsiteX22" fmla="*/ 923822 w 4459850"/>
              <a:gd name="connsiteY22" fmla="*/ 0 h 4464050"/>
              <a:gd name="connsiteX23" fmla="*/ 925575 w 4459850"/>
              <a:gd name="connsiteY23" fmla="*/ 0 h 4464050"/>
              <a:gd name="connsiteX24" fmla="*/ 1555348 w 4459850"/>
              <a:gd name="connsiteY24" fmla="*/ 570628 h 4464050"/>
              <a:gd name="connsiteX25" fmla="*/ 1555348 w 4459850"/>
              <a:gd name="connsiteY25" fmla="*/ 3893320 h 4464050"/>
              <a:gd name="connsiteX26" fmla="*/ 925461 w 4459850"/>
              <a:gd name="connsiteY26" fmla="*/ 4464050 h 4464050"/>
              <a:gd name="connsiteX27" fmla="*/ 923822 w 4459850"/>
              <a:gd name="connsiteY27" fmla="*/ 4464050 h 4464050"/>
              <a:gd name="connsiteX28" fmla="*/ 0 w 4459850"/>
              <a:gd name="connsiteY28" fmla="*/ 0 h 4464050"/>
              <a:gd name="connsiteX29" fmla="*/ 2239 w 4459850"/>
              <a:gd name="connsiteY29" fmla="*/ 0 h 4464050"/>
              <a:gd name="connsiteX30" fmla="*/ 806883 w 4459850"/>
              <a:gd name="connsiteY30" fmla="*/ 570628 h 4464050"/>
              <a:gd name="connsiteX31" fmla="*/ 806883 w 4459850"/>
              <a:gd name="connsiteY31" fmla="*/ 3893419 h 4464050"/>
              <a:gd name="connsiteX32" fmla="*/ 2234 w 4459850"/>
              <a:gd name="connsiteY32" fmla="*/ 4464050 h 4464050"/>
              <a:gd name="connsiteX33" fmla="*/ 0 w 4459850"/>
              <a:gd name="connsiteY33" fmla="*/ 446405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793440 w 4459850"/>
              <a:gd name="connsiteY12" fmla="*/ 0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2292030 w 4459850"/>
              <a:gd name="connsiteY17" fmla="*/ 570628 h 4464050"/>
              <a:gd name="connsiteX18" fmla="*/ 2793440 w 4459850"/>
              <a:gd name="connsiteY18" fmla="*/ 0 h 4464050"/>
              <a:gd name="connsiteX19" fmla="*/ 1672385 w 4459850"/>
              <a:gd name="connsiteY19" fmla="*/ 0 h 4464050"/>
              <a:gd name="connsiteX20" fmla="*/ 1673781 w 4459850"/>
              <a:gd name="connsiteY20" fmla="*/ 0 h 4464050"/>
              <a:gd name="connsiteX21" fmla="*/ 2175191 w 4459850"/>
              <a:gd name="connsiteY21" fmla="*/ 570628 h 4464050"/>
              <a:gd name="connsiteX22" fmla="*/ 2175191 w 4459850"/>
              <a:gd name="connsiteY22" fmla="*/ 3893320 h 4464050"/>
              <a:gd name="connsiteX23" fmla="*/ 1673690 w 4459850"/>
              <a:gd name="connsiteY23" fmla="*/ 4464050 h 4464050"/>
              <a:gd name="connsiteX24" fmla="*/ 1672385 w 4459850"/>
              <a:gd name="connsiteY24" fmla="*/ 4464050 h 4464050"/>
              <a:gd name="connsiteX25" fmla="*/ 1672385 w 4459850"/>
              <a:gd name="connsiteY25" fmla="*/ 0 h 4464050"/>
              <a:gd name="connsiteX26" fmla="*/ 923822 w 4459850"/>
              <a:gd name="connsiteY26" fmla="*/ 0 h 4464050"/>
              <a:gd name="connsiteX27" fmla="*/ 925575 w 4459850"/>
              <a:gd name="connsiteY27" fmla="*/ 0 h 4464050"/>
              <a:gd name="connsiteX28" fmla="*/ 1555348 w 4459850"/>
              <a:gd name="connsiteY28" fmla="*/ 570628 h 4464050"/>
              <a:gd name="connsiteX29" fmla="*/ 1555348 w 4459850"/>
              <a:gd name="connsiteY29" fmla="*/ 3893320 h 4464050"/>
              <a:gd name="connsiteX30" fmla="*/ 925461 w 4459850"/>
              <a:gd name="connsiteY30" fmla="*/ 4464050 h 4464050"/>
              <a:gd name="connsiteX31" fmla="*/ 923822 w 4459850"/>
              <a:gd name="connsiteY31" fmla="*/ 4464050 h 4464050"/>
              <a:gd name="connsiteX32" fmla="*/ 923822 w 4459850"/>
              <a:gd name="connsiteY32" fmla="*/ 0 h 4464050"/>
              <a:gd name="connsiteX33" fmla="*/ 0 w 4459850"/>
              <a:gd name="connsiteY33" fmla="*/ 0 h 4464050"/>
              <a:gd name="connsiteX34" fmla="*/ 2239 w 4459850"/>
              <a:gd name="connsiteY34" fmla="*/ 0 h 4464050"/>
              <a:gd name="connsiteX35" fmla="*/ 806883 w 4459850"/>
              <a:gd name="connsiteY35" fmla="*/ 3893419 h 4464050"/>
              <a:gd name="connsiteX36" fmla="*/ 2234 w 4459850"/>
              <a:gd name="connsiteY36" fmla="*/ 4464050 h 4464050"/>
              <a:gd name="connsiteX37" fmla="*/ 0 w 4459850"/>
              <a:gd name="connsiteY37" fmla="*/ 4464050 h 4464050"/>
              <a:gd name="connsiteX38" fmla="*/ 0 w 4459850"/>
              <a:gd name="connsiteY38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793440 w 4459850"/>
              <a:gd name="connsiteY12" fmla="*/ 0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2292030 w 4459850"/>
              <a:gd name="connsiteY17" fmla="*/ 570628 h 4464050"/>
              <a:gd name="connsiteX18" fmla="*/ 2793440 w 4459850"/>
              <a:gd name="connsiteY18" fmla="*/ 0 h 4464050"/>
              <a:gd name="connsiteX19" fmla="*/ 1672385 w 4459850"/>
              <a:gd name="connsiteY19" fmla="*/ 0 h 4464050"/>
              <a:gd name="connsiteX20" fmla="*/ 1673781 w 4459850"/>
              <a:gd name="connsiteY20" fmla="*/ 0 h 4464050"/>
              <a:gd name="connsiteX21" fmla="*/ 2175191 w 4459850"/>
              <a:gd name="connsiteY21" fmla="*/ 570628 h 4464050"/>
              <a:gd name="connsiteX22" fmla="*/ 2175191 w 4459850"/>
              <a:gd name="connsiteY22" fmla="*/ 3893320 h 4464050"/>
              <a:gd name="connsiteX23" fmla="*/ 1673690 w 4459850"/>
              <a:gd name="connsiteY23" fmla="*/ 4464050 h 4464050"/>
              <a:gd name="connsiteX24" fmla="*/ 1672385 w 4459850"/>
              <a:gd name="connsiteY24" fmla="*/ 4464050 h 4464050"/>
              <a:gd name="connsiteX25" fmla="*/ 1672385 w 4459850"/>
              <a:gd name="connsiteY25" fmla="*/ 0 h 4464050"/>
              <a:gd name="connsiteX26" fmla="*/ 923822 w 4459850"/>
              <a:gd name="connsiteY26" fmla="*/ 0 h 4464050"/>
              <a:gd name="connsiteX27" fmla="*/ 925575 w 4459850"/>
              <a:gd name="connsiteY27" fmla="*/ 0 h 4464050"/>
              <a:gd name="connsiteX28" fmla="*/ 1555348 w 4459850"/>
              <a:gd name="connsiteY28" fmla="*/ 570628 h 4464050"/>
              <a:gd name="connsiteX29" fmla="*/ 1555348 w 4459850"/>
              <a:gd name="connsiteY29" fmla="*/ 3893320 h 4464050"/>
              <a:gd name="connsiteX30" fmla="*/ 925461 w 4459850"/>
              <a:gd name="connsiteY30" fmla="*/ 4464050 h 4464050"/>
              <a:gd name="connsiteX31" fmla="*/ 923822 w 4459850"/>
              <a:gd name="connsiteY31" fmla="*/ 4464050 h 4464050"/>
              <a:gd name="connsiteX32" fmla="*/ 923822 w 4459850"/>
              <a:gd name="connsiteY32" fmla="*/ 0 h 4464050"/>
              <a:gd name="connsiteX33" fmla="*/ 0 w 4459850"/>
              <a:gd name="connsiteY33" fmla="*/ 4464050 h 4464050"/>
              <a:gd name="connsiteX34" fmla="*/ 2239 w 4459850"/>
              <a:gd name="connsiteY34" fmla="*/ 0 h 4464050"/>
              <a:gd name="connsiteX35" fmla="*/ 806883 w 4459850"/>
              <a:gd name="connsiteY35" fmla="*/ 3893419 h 4464050"/>
              <a:gd name="connsiteX36" fmla="*/ 2234 w 4459850"/>
              <a:gd name="connsiteY36" fmla="*/ 4464050 h 4464050"/>
              <a:gd name="connsiteX37" fmla="*/ 0 w 4459850"/>
              <a:gd name="connsiteY37" fmla="*/ 4464050 h 4464050"/>
              <a:gd name="connsiteX0" fmla="*/ 4457616 w 4457616"/>
              <a:gd name="connsiteY0" fmla="*/ 3569 h 4464050"/>
              <a:gd name="connsiteX1" fmla="*/ 4457616 w 4457616"/>
              <a:gd name="connsiteY1" fmla="*/ 4460478 h 4464050"/>
              <a:gd name="connsiteX2" fmla="*/ 3658004 w 4457616"/>
              <a:gd name="connsiteY2" fmla="*/ 3893419 h 4464050"/>
              <a:gd name="connsiteX3" fmla="*/ 3658004 w 4457616"/>
              <a:gd name="connsiteY3" fmla="*/ 570628 h 4464050"/>
              <a:gd name="connsiteX4" fmla="*/ 4457616 w 4457616"/>
              <a:gd name="connsiteY4" fmla="*/ 3569 h 4464050"/>
              <a:gd name="connsiteX5" fmla="*/ 3539413 w 4457616"/>
              <a:gd name="connsiteY5" fmla="*/ 0 h 4464050"/>
              <a:gd name="connsiteX6" fmla="*/ 3541165 w 4457616"/>
              <a:gd name="connsiteY6" fmla="*/ 0 h 4464050"/>
              <a:gd name="connsiteX7" fmla="*/ 3541165 w 4457616"/>
              <a:gd name="connsiteY7" fmla="*/ 4464050 h 4464050"/>
              <a:gd name="connsiteX8" fmla="*/ 3539416 w 4457616"/>
              <a:gd name="connsiteY8" fmla="*/ 4464050 h 4464050"/>
              <a:gd name="connsiteX9" fmla="*/ 2909638 w 4457616"/>
              <a:gd name="connsiteY9" fmla="*/ 3893419 h 4464050"/>
              <a:gd name="connsiteX10" fmla="*/ 2909638 w 4457616"/>
              <a:gd name="connsiteY10" fmla="*/ 570628 h 4464050"/>
              <a:gd name="connsiteX11" fmla="*/ 3539413 w 4457616"/>
              <a:gd name="connsiteY11" fmla="*/ 0 h 4464050"/>
              <a:gd name="connsiteX12" fmla="*/ 2791206 w 4457616"/>
              <a:gd name="connsiteY12" fmla="*/ 0 h 4464050"/>
              <a:gd name="connsiteX13" fmla="*/ 2792601 w 4457616"/>
              <a:gd name="connsiteY13" fmla="*/ 0 h 4464050"/>
              <a:gd name="connsiteX14" fmla="*/ 2792601 w 4457616"/>
              <a:gd name="connsiteY14" fmla="*/ 4464050 h 4464050"/>
              <a:gd name="connsiteX15" fmla="*/ 2791209 w 4457616"/>
              <a:gd name="connsiteY15" fmla="*/ 4464050 h 4464050"/>
              <a:gd name="connsiteX16" fmla="*/ 2289796 w 4457616"/>
              <a:gd name="connsiteY16" fmla="*/ 3893419 h 4464050"/>
              <a:gd name="connsiteX17" fmla="*/ 2289796 w 4457616"/>
              <a:gd name="connsiteY17" fmla="*/ 570628 h 4464050"/>
              <a:gd name="connsiteX18" fmla="*/ 2791206 w 4457616"/>
              <a:gd name="connsiteY18" fmla="*/ 0 h 4464050"/>
              <a:gd name="connsiteX19" fmla="*/ 1670151 w 4457616"/>
              <a:gd name="connsiteY19" fmla="*/ 0 h 4464050"/>
              <a:gd name="connsiteX20" fmla="*/ 1671547 w 4457616"/>
              <a:gd name="connsiteY20" fmla="*/ 0 h 4464050"/>
              <a:gd name="connsiteX21" fmla="*/ 2172957 w 4457616"/>
              <a:gd name="connsiteY21" fmla="*/ 570628 h 4464050"/>
              <a:gd name="connsiteX22" fmla="*/ 2172957 w 4457616"/>
              <a:gd name="connsiteY22" fmla="*/ 3893320 h 4464050"/>
              <a:gd name="connsiteX23" fmla="*/ 1671456 w 4457616"/>
              <a:gd name="connsiteY23" fmla="*/ 4464050 h 4464050"/>
              <a:gd name="connsiteX24" fmla="*/ 1670151 w 4457616"/>
              <a:gd name="connsiteY24" fmla="*/ 4464050 h 4464050"/>
              <a:gd name="connsiteX25" fmla="*/ 1670151 w 4457616"/>
              <a:gd name="connsiteY25" fmla="*/ 0 h 4464050"/>
              <a:gd name="connsiteX26" fmla="*/ 921588 w 4457616"/>
              <a:gd name="connsiteY26" fmla="*/ 0 h 4464050"/>
              <a:gd name="connsiteX27" fmla="*/ 923341 w 4457616"/>
              <a:gd name="connsiteY27" fmla="*/ 0 h 4464050"/>
              <a:gd name="connsiteX28" fmla="*/ 1553114 w 4457616"/>
              <a:gd name="connsiteY28" fmla="*/ 570628 h 4464050"/>
              <a:gd name="connsiteX29" fmla="*/ 1553114 w 4457616"/>
              <a:gd name="connsiteY29" fmla="*/ 3893320 h 4464050"/>
              <a:gd name="connsiteX30" fmla="*/ 923227 w 4457616"/>
              <a:gd name="connsiteY30" fmla="*/ 4464050 h 4464050"/>
              <a:gd name="connsiteX31" fmla="*/ 921588 w 4457616"/>
              <a:gd name="connsiteY31" fmla="*/ 4464050 h 4464050"/>
              <a:gd name="connsiteX32" fmla="*/ 921588 w 4457616"/>
              <a:gd name="connsiteY32" fmla="*/ 0 h 4464050"/>
              <a:gd name="connsiteX33" fmla="*/ 0 w 4457616"/>
              <a:gd name="connsiteY33" fmla="*/ 4464050 h 4464050"/>
              <a:gd name="connsiteX34" fmla="*/ 5 w 4457616"/>
              <a:gd name="connsiteY34" fmla="*/ 0 h 4464050"/>
              <a:gd name="connsiteX35" fmla="*/ 804649 w 4457616"/>
              <a:gd name="connsiteY35" fmla="*/ 3893419 h 4464050"/>
              <a:gd name="connsiteX36" fmla="*/ 0 w 4457616"/>
              <a:gd name="connsiteY36" fmla="*/ 4464050 h 4464050"/>
              <a:gd name="connsiteX0" fmla="*/ 4457611 w 4457611"/>
              <a:gd name="connsiteY0" fmla="*/ 3569 h 4464050"/>
              <a:gd name="connsiteX1" fmla="*/ 4457611 w 4457611"/>
              <a:gd name="connsiteY1" fmla="*/ 4460478 h 4464050"/>
              <a:gd name="connsiteX2" fmla="*/ 3657999 w 4457611"/>
              <a:gd name="connsiteY2" fmla="*/ 3893419 h 4464050"/>
              <a:gd name="connsiteX3" fmla="*/ 3657999 w 4457611"/>
              <a:gd name="connsiteY3" fmla="*/ 570628 h 4464050"/>
              <a:gd name="connsiteX4" fmla="*/ 4457611 w 4457611"/>
              <a:gd name="connsiteY4" fmla="*/ 3569 h 4464050"/>
              <a:gd name="connsiteX5" fmla="*/ 3539408 w 4457611"/>
              <a:gd name="connsiteY5" fmla="*/ 0 h 4464050"/>
              <a:gd name="connsiteX6" fmla="*/ 3541160 w 4457611"/>
              <a:gd name="connsiteY6" fmla="*/ 0 h 4464050"/>
              <a:gd name="connsiteX7" fmla="*/ 3541160 w 4457611"/>
              <a:gd name="connsiteY7" fmla="*/ 4464050 h 4464050"/>
              <a:gd name="connsiteX8" fmla="*/ 3539411 w 4457611"/>
              <a:gd name="connsiteY8" fmla="*/ 4464050 h 4464050"/>
              <a:gd name="connsiteX9" fmla="*/ 2909633 w 4457611"/>
              <a:gd name="connsiteY9" fmla="*/ 3893419 h 4464050"/>
              <a:gd name="connsiteX10" fmla="*/ 2909633 w 4457611"/>
              <a:gd name="connsiteY10" fmla="*/ 570628 h 4464050"/>
              <a:gd name="connsiteX11" fmla="*/ 3539408 w 4457611"/>
              <a:gd name="connsiteY11" fmla="*/ 0 h 4464050"/>
              <a:gd name="connsiteX12" fmla="*/ 2791201 w 4457611"/>
              <a:gd name="connsiteY12" fmla="*/ 0 h 4464050"/>
              <a:gd name="connsiteX13" fmla="*/ 2792596 w 4457611"/>
              <a:gd name="connsiteY13" fmla="*/ 0 h 4464050"/>
              <a:gd name="connsiteX14" fmla="*/ 2792596 w 4457611"/>
              <a:gd name="connsiteY14" fmla="*/ 4464050 h 4464050"/>
              <a:gd name="connsiteX15" fmla="*/ 2791204 w 4457611"/>
              <a:gd name="connsiteY15" fmla="*/ 4464050 h 4464050"/>
              <a:gd name="connsiteX16" fmla="*/ 2289791 w 4457611"/>
              <a:gd name="connsiteY16" fmla="*/ 3893419 h 4464050"/>
              <a:gd name="connsiteX17" fmla="*/ 2289791 w 4457611"/>
              <a:gd name="connsiteY17" fmla="*/ 570628 h 4464050"/>
              <a:gd name="connsiteX18" fmla="*/ 2791201 w 4457611"/>
              <a:gd name="connsiteY18" fmla="*/ 0 h 4464050"/>
              <a:gd name="connsiteX19" fmla="*/ 1670146 w 4457611"/>
              <a:gd name="connsiteY19" fmla="*/ 0 h 4464050"/>
              <a:gd name="connsiteX20" fmla="*/ 1671542 w 4457611"/>
              <a:gd name="connsiteY20" fmla="*/ 0 h 4464050"/>
              <a:gd name="connsiteX21" fmla="*/ 2172952 w 4457611"/>
              <a:gd name="connsiteY21" fmla="*/ 570628 h 4464050"/>
              <a:gd name="connsiteX22" fmla="*/ 2172952 w 4457611"/>
              <a:gd name="connsiteY22" fmla="*/ 3893320 h 4464050"/>
              <a:gd name="connsiteX23" fmla="*/ 1671451 w 4457611"/>
              <a:gd name="connsiteY23" fmla="*/ 4464050 h 4464050"/>
              <a:gd name="connsiteX24" fmla="*/ 1670146 w 4457611"/>
              <a:gd name="connsiteY24" fmla="*/ 4464050 h 4464050"/>
              <a:gd name="connsiteX25" fmla="*/ 1670146 w 4457611"/>
              <a:gd name="connsiteY25" fmla="*/ 0 h 4464050"/>
              <a:gd name="connsiteX26" fmla="*/ 921583 w 4457611"/>
              <a:gd name="connsiteY26" fmla="*/ 0 h 4464050"/>
              <a:gd name="connsiteX27" fmla="*/ 923336 w 4457611"/>
              <a:gd name="connsiteY27" fmla="*/ 0 h 4464050"/>
              <a:gd name="connsiteX28" fmla="*/ 1553109 w 4457611"/>
              <a:gd name="connsiteY28" fmla="*/ 570628 h 4464050"/>
              <a:gd name="connsiteX29" fmla="*/ 1553109 w 4457611"/>
              <a:gd name="connsiteY29" fmla="*/ 3893320 h 4464050"/>
              <a:gd name="connsiteX30" fmla="*/ 923222 w 4457611"/>
              <a:gd name="connsiteY30" fmla="*/ 4464050 h 4464050"/>
              <a:gd name="connsiteX31" fmla="*/ 921583 w 4457611"/>
              <a:gd name="connsiteY31" fmla="*/ 4464050 h 4464050"/>
              <a:gd name="connsiteX32" fmla="*/ 921583 w 4457611"/>
              <a:gd name="connsiteY32" fmla="*/ 0 h 4464050"/>
              <a:gd name="connsiteX33" fmla="*/ 804644 w 4457611"/>
              <a:gd name="connsiteY33" fmla="*/ 3893419 h 4464050"/>
              <a:gd name="connsiteX34" fmla="*/ 0 w 4457611"/>
              <a:gd name="connsiteY34" fmla="*/ 0 h 4464050"/>
              <a:gd name="connsiteX35" fmla="*/ 804644 w 4457611"/>
              <a:gd name="connsiteY35" fmla="*/ 3893419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0 h 4464050"/>
              <a:gd name="connsiteX27" fmla="*/ 1753 w 3536028"/>
              <a:gd name="connsiteY27" fmla="*/ 0 h 4464050"/>
              <a:gd name="connsiteX28" fmla="*/ 631526 w 3536028"/>
              <a:gd name="connsiteY28" fmla="*/ 570628 h 4464050"/>
              <a:gd name="connsiteX29" fmla="*/ 631526 w 3536028"/>
              <a:gd name="connsiteY29" fmla="*/ 3893320 h 4464050"/>
              <a:gd name="connsiteX30" fmla="*/ 1639 w 3536028"/>
              <a:gd name="connsiteY30" fmla="*/ 4464050 h 4464050"/>
              <a:gd name="connsiteX31" fmla="*/ 0 w 3536028"/>
              <a:gd name="connsiteY31" fmla="*/ 4464050 h 4464050"/>
              <a:gd name="connsiteX32" fmla="*/ 0 w 3536028"/>
              <a:gd name="connsiteY32" fmla="*/ 0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4464050 h 4464050"/>
              <a:gd name="connsiteX27" fmla="*/ 1753 w 3536028"/>
              <a:gd name="connsiteY27" fmla="*/ 0 h 4464050"/>
              <a:gd name="connsiteX28" fmla="*/ 631526 w 3536028"/>
              <a:gd name="connsiteY28" fmla="*/ 570628 h 4464050"/>
              <a:gd name="connsiteX29" fmla="*/ 631526 w 3536028"/>
              <a:gd name="connsiteY29" fmla="*/ 3893320 h 4464050"/>
              <a:gd name="connsiteX30" fmla="*/ 1639 w 3536028"/>
              <a:gd name="connsiteY30" fmla="*/ 4464050 h 4464050"/>
              <a:gd name="connsiteX31" fmla="*/ 0 w 3536028"/>
              <a:gd name="connsiteY31" fmla="*/ 4464050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4464050 h 4464050"/>
              <a:gd name="connsiteX27" fmla="*/ 1753 w 3536028"/>
              <a:gd name="connsiteY27" fmla="*/ 0 h 4464050"/>
              <a:gd name="connsiteX28" fmla="*/ 631526 w 3536028"/>
              <a:gd name="connsiteY28" fmla="*/ 3893320 h 4464050"/>
              <a:gd name="connsiteX29" fmla="*/ 1639 w 3536028"/>
              <a:gd name="connsiteY29" fmla="*/ 4464050 h 4464050"/>
              <a:gd name="connsiteX30" fmla="*/ 0 w 3536028"/>
              <a:gd name="connsiteY30" fmla="*/ 4464050 h 4464050"/>
              <a:gd name="connsiteX0" fmla="*/ 3563155 w 3563155"/>
              <a:gd name="connsiteY0" fmla="*/ 3569 h 4464050"/>
              <a:gd name="connsiteX1" fmla="*/ 3563155 w 3563155"/>
              <a:gd name="connsiteY1" fmla="*/ 4460478 h 4464050"/>
              <a:gd name="connsiteX2" fmla="*/ 2763543 w 3563155"/>
              <a:gd name="connsiteY2" fmla="*/ 3893419 h 4464050"/>
              <a:gd name="connsiteX3" fmla="*/ 2763543 w 3563155"/>
              <a:gd name="connsiteY3" fmla="*/ 570628 h 4464050"/>
              <a:gd name="connsiteX4" fmla="*/ 3563155 w 3563155"/>
              <a:gd name="connsiteY4" fmla="*/ 3569 h 4464050"/>
              <a:gd name="connsiteX5" fmla="*/ 2644952 w 3563155"/>
              <a:gd name="connsiteY5" fmla="*/ 0 h 4464050"/>
              <a:gd name="connsiteX6" fmla="*/ 2646704 w 3563155"/>
              <a:gd name="connsiteY6" fmla="*/ 0 h 4464050"/>
              <a:gd name="connsiteX7" fmla="*/ 2646704 w 3563155"/>
              <a:gd name="connsiteY7" fmla="*/ 4464050 h 4464050"/>
              <a:gd name="connsiteX8" fmla="*/ 2644955 w 3563155"/>
              <a:gd name="connsiteY8" fmla="*/ 4464050 h 4464050"/>
              <a:gd name="connsiteX9" fmla="*/ 2015177 w 3563155"/>
              <a:gd name="connsiteY9" fmla="*/ 3893419 h 4464050"/>
              <a:gd name="connsiteX10" fmla="*/ 2015177 w 3563155"/>
              <a:gd name="connsiteY10" fmla="*/ 570628 h 4464050"/>
              <a:gd name="connsiteX11" fmla="*/ 2644952 w 3563155"/>
              <a:gd name="connsiteY11" fmla="*/ 0 h 4464050"/>
              <a:gd name="connsiteX12" fmla="*/ 1896745 w 3563155"/>
              <a:gd name="connsiteY12" fmla="*/ 0 h 4464050"/>
              <a:gd name="connsiteX13" fmla="*/ 1898140 w 3563155"/>
              <a:gd name="connsiteY13" fmla="*/ 0 h 4464050"/>
              <a:gd name="connsiteX14" fmla="*/ 1898140 w 3563155"/>
              <a:gd name="connsiteY14" fmla="*/ 4464050 h 4464050"/>
              <a:gd name="connsiteX15" fmla="*/ 1896748 w 3563155"/>
              <a:gd name="connsiteY15" fmla="*/ 4464050 h 4464050"/>
              <a:gd name="connsiteX16" fmla="*/ 1395335 w 3563155"/>
              <a:gd name="connsiteY16" fmla="*/ 3893419 h 4464050"/>
              <a:gd name="connsiteX17" fmla="*/ 1395335 w 3563155"/>
              <a:gd name="connsiteY17" fmla="*/ 570628 h 4464050"/>
              <a:gd name="connsiteX18" fmla="*/ 1896745 w 3563155"/>
              <a:gd name="connsiteY18" fmla="*/ 0 h 4464050"/>
              <a:gd name="connsiteX19" fmla="*/ 775690 w 3563155"/>
              <a:gd name="connsiteY19" fmla="*/ 0 h 4464050"/>
              <a:gd name="connsiteX20" fmla="*/ 777086 w 3563155"/>
              <a:gd name="connsiteY20" fmla="*/ 0 h 4464050"/>
              <a:gd name="connsiteX21" fmla="*/ 1278496 w 3563155"/>
              <a:gd name="connsiteY21" fmla="*/ 570628 h 4464050"/>
              <a:gd name="connsiteX22" fmla="*/ 1278496 w 3563155"/>
              <a:gd name="connsiteY22" fmla="*/ 3893320 h 4464050"/>
              <a:gd name="connsiteX23" fmla="*/ 776995 w 3563155"/>
              <a:gd name="connsiteY23" fmla="*/ 4464050 h 4464050"/>
              <a:gd name="connsiteX24" fmla="*/ 775690 w 3563155"/>
              <a:gd name="connsiteY24" fmla="*/ 4464050 h 4464050"/>
              <a:gd name="connsiteX25" fmla="*/ 775690 w 3563155"/>
              <a:gd name="connsiteY25" fmla="*/ 0 h 4464050"/>
              <a:gd name="connsiteX26" fmla="*/ 27127 w 3563155"/>
              <a:gd name="connsiteY26" fmla="*/ 4464050 h 4464050"/>
              <a:gd name="connsiteX27" fmla="*/ 8 w 3563155"/>
              <a:gd name="connsiteY27" fmla="*/ 28872 h 4464050"/>
              <a:gd name="connsiteX28" fmla="*/ 658653 w 3563155"/>
              <a:gd name="connsiteY28" fmla="*/ 3893320 h 4464050"/>
              <a:gd name="connsiteX29" fmla="*/ 28766 w 3563155"/>
              <a:gd name="connsiteY29" fmla="*/ 4464050 h 4464050"/>
              <a:gd name="connsiteX30" fmla="*/ 27127 w 3563155"/>
              <a:gd name="connsiteY30" fmla="*/ 4464050 h 4464050"/>
              <a:gd name="connsiteX0" fmla="*/ 3536028 w 3536028"/>
              <a:gd name="connsiteY0" fmla="*/ 3569 h 4464050"/>
              <a:gd name="connsiteX1" fmla="*/ 3536028 w 3536028"/>
              <a:gd name="connsiteY1" fmla="*/ 4460478 h 4464050"/>
              <a:gd name="connsiteX2" fmla="*/ 2736416 w 3536028"/>
              <a:gd name="connsiteY2" fmla="*/ 3893419 h 4464050"/>
              <a:gd name="connsiteX3" fmla="*/ 2736416 w 3536028"/>
              <a:gd name="connsiteY3" fmla="*/ 570628 h 4464050"/>
              <a:gd name="connsiteX4" fmla="*/ 3536028 w 3536028"/>
              <a:gd name="connsiteY4" fmla="*/ 3569 h 4464050"/>
              <a:gd name="connsiteX5" fmla="*/ 2617825 w 3536028"/>
              <a:gd name="connsiteY5" fmla="*/ 0 h 4464050"/>
              <a:gd name="connsiteX6" fmla="*/ 2619577 w 3536028"/>
              <a:gd name="connsiteY6" fmla="*/ 0 h 4464050"/>
              <a:gd name="connsiteX7" fmla="*/ 2619577 w 3536028"/>
              <a:gd name="connsiteY7" fmla="*/ 4464050 h 4464050"/>
              <a:gd name="connsiteX8" fmla="*/ 2617828 w 3536028"/>
              <a:gd name="connsiteY8" fmla="*/ 4464050 h 4464050"/>
              <a:gd name="connsiteX9" fmla="*/ 1988050 w 3536028"/>
              <a:gd name="connsiteY9" fmla="*/ 3893419 h 4464050"/>
              <a:gd name="connsiteX10" fmla="*/ 1988050 w 3536028"/>
              <a:gd name="connsiteY10" fmla="*/ 570628 h 4464050"/>
              <a:gd name="connsiteX11" fmla="*/ 2617825 w 3536028"/>
              <a:gd name="connsiteY11" fmla="*/ 0 h 4464050"/>
              <a:gd name="connsiteX12" fmla="*/ 1869618 w 3536028"/>
              <a:gd name="connsiteY12" fmla="*/ 0 h 4464050"/>
              <a:gd name="connsiteX13" fmla="*/ 1871013 w 3536028"/>
              <a:gd name="connsiteY13" fmla="*/ 0 h 4464050"/>
              <a:gd name="connsiteX14" fmla="*/ 1871013 w 3536028"/>
              <a:gd name="connsiteY14" fmla="*/ 4464050 h 4464050"/>
              <a:gd name="connsiteX15" fmla="*/ 1869621 w 3536028"/>
              <a:gd name="connsiteY15" fmla="*/ 4464050 h 4464050"/>
              <a:gd name="connsiteX16" fmla="*/ 1368208 w 3536028"/>
              <a:gd name="connsiteY16" fmla="*/ 3893419 h 4464050"/>
              <a:gd name="connsiteX17" fmla="*/ 1368208 w 3536028"/>
              <a:gd name="connsiteY17" fmla="*/ 570628 h 4464050"/>
              <a:gd name="connsiteX18" fmla="*/ 1869618 w 3536028"/>
              <a:gd name="connsiteY18" fmla="*/ 0 h 4464050"/>
              <a:gd name="connsiteX19" fmla="*/ 748563 w 3536028"/>
              <a:gd name="connsiteY19" fmla="*/ 0 h 4464050"/>
              <a:gd name="connsiteX20" fmla="*/ 749959 w 3536028"/>
              <a:gd name="connsiteY20" fmla="*/ 0 h 4464050"/>
              <a:gd name="connsiteX21" fmla="*/ 1251369 w 3536028"/>
              <a:gd name="connsiteY21" fmla="*/ 570628 h 4464050"/>
              <a:gd name="connsiteX22" fmla="*/ 1251369 w 3536028"/>
              <a:gd name="connsiteY22" fmla="*/ 3893320 h 4464050"/>
              <a:gd name="connsiteX23" fmla="*/ 749868 w 3536028"/>
              <a:gd name="connsiteY23" fmla="*/ 4464050 h 4464050"/>
              <a:gd name="connsiteX24" fmla="*/ 748563 w 3536028"/>
              <a:gd name="connsiteY24" fmla="*/ 4464050 h 4464050"/>
              <a:gd name="connsiteX25" fmla="*/ 748563 w 3536028"/>
              <a:gd name="connsiteY25" fmla="*/ 0 h 4464050"/>
              <a:gd name="connsiteX26" fmla="*/ 0 w 3536028"/>
              <a:gd name="connsiteY26" fmla="*/ 4464050 h 4464050"/>
              <a:gd name="connsiteX27" fmla="*/ 631526 w 3536028"/>
              <a:gd name="connsiteY27" fmla="*/ 3893320 h 4464050"/>
              <a:gd name="connsiteX28" fmla="*/ 1639 w 3536028"/>
              <a:gd name="connsiteY28" fmla="*/ 4464050 h 4464050"/>
              <a:gd name="connsiteX29" fmla="*/ 0 w 3536028"/>
              <a:gd name="connsiteY29" fmla="*/ 4464050 h 4464050"/>
              <a:gd name="connsiteX0" fmla="*/ 3534389 w 3534389"/>
              <a:gd name="connsiteY0" fmla="*/ 3569 h 4464050"/>
              <a:gd name="connsiteX1" fmla="*/ 3534389 w 3534389"/>
              <a:gd name="connsiteY1" fmla="*/ 4460478 h 4464050"/>
              <a:gd name="connsiteX2" fmla="*/ 2734777 w 3534389"/>
              <a:gd name="connsiteY2" fmla="*/ 3893419 h 4464050"/>
              <a:gd name="connsiteX3" fmla="*/ 2734777 w 3534389"/>
              <a:gd name="connsiteY3" fmla="*/ 570628 h 4464050"/>
              <a:gd name="connsiteX4" fmla="*/ 3534389 w 3534389"/>
              <a:gd name="connsiteY4" fmla="*/ 3569 h 4464050"/>
              <a:gd name="connsiteX5" fmla="*/ 2616186 w 3534389"/>
              <a:gd name="connsiteY5" fmla="*/ 0 h 4464050"/>
              <a:gd name="connsiteX6" fmla="*/ 2617938 w 3534389"/>
              <a:gd name="connsiteY6" fmla="*/ 0 h 4464050"/>
              <a:gd name="connsiteX7" fmla="*/ 2617938 w 3534389"/>
              <a:gd name="connsiteY7" fmla="*/ 4464050 h 4464050"/>
              <a:gd name="connsiteX8" fmla="*/ 2616189 w 3534389"/>
              <a:gd name="connsiteY8" fmla="*/ 4464050 h 4464050"/>
              <a:gd name="connsiteX9" fmla="*/ 1986411 w 3534389"/>
              <a:gd name="connsiteY9" fmla="*/ 3893419 h 4464050"/>
              <a:gd name="connsiteX10" fmla="*/ 1986411 w 3534389"/>
              <a:gd name="connsiteY10" fmla="*/ 570628 h 4464050"/>
              <a:gd name="connsiteX11" fmla="*/ 2616186 w 3534389"/>
              <a:gd name="connsiteY11" fmla="*/ 0 h 4464050"/>
              <a:gd name="connsiteX12" fmla="*/ 1867979 w 3534389"/>
              <a:gd name="connsiteY12" fmla="*/ 0 h 4464050"/>
              <a:gd name="connsiteX13" fmla="*/ 1869374 w 3534389"/>
              <a:gd name="connsiteY13" fmla="*/ 0 h 4464050"/>
              <a:gd name="connsiteX14" fmla="*/ 1869374 w 3534389"/>
              <a:gd name="connsiteY14" fmla="*/ 4464050 h 4464050"/>
              <a:gd name="connsiteX15" fmla="*/ 1867982 w 3534389"/>
              <a:gd name="connsiteY15" fmla="*/ 4464050 h 4464050"/>
              <a:gd name="connsiteX16" fmla="*/ 1366569 w 3534389"/>
              <a:gd name="connsiteY16" fmla="*/ 3893419 h 4464050"/>
              <a:gd name="connsiteX17" fmla="*/ 1366569 w 3534389"/>
              <a:gd name="connsiteY17" fmla="*/ 570628 h 4464050"/>
              <a:gd name="connsiteX18" fmla="*/ 1867979 w 3534389"/>
              <a:gd name="connsiteY18" fmla="*/ 0 h 4464050"/>
              <a:gd name="connsiteX19" fmla="*/ 746924 w 3534389"/>
              <a:gd name="connsiteY19" fmla="*/ 0 h 4464050"/>
              <a:gd name="connsiteX20" fmla="*/ 748320 w 3534389"/>
              <a:gd name="connsiteY20" fmla="*/ 0 h 4464050"/>
              <a:gd name="connsiteX21" fmla="*/ 1249730 w 3534389"/>
              <a:gd name="connsiteY21" fmla="*/ 570628 h 4464050"/>
              <a:gd name="connsiteX22" fmla="*/ 1249730 w 3534389"/>
              <a:gd name="connsiteY22" fmla="*/ 3893320 h 4464050"/>
              <a:gd name="connsiteX23" fmla="*/ 748229 w 3534389"/>
              <a:gd name="connsiteY23" fmla="*/ 4464050 h 4464050"/>
              <a:gd name="connsiteX24" fmla="*/ 746924 w 3534389"/>
              <a:gd name="connsiteY24" fmla="*/ 4464050 h 4464050"/>
              <a:gd name="connsiteX25" fmla="*/ 746924 w 3534389"/>
              <a:gd name="connsiteY25" fmla="*/ 0 h 4464050"/>
              <a:gd name="connsiteX26" fmla="*/ 0 w 3534389"/>
              <a:gd name="connsiteY26" fmla="*/ 4464050 h 4464050"/>
              <a:gd name="connsiteX27" fmla="*/ 629887 w 3534389"/>
              <a:gd name="connsiteY27" fmla="*/ 3893320 h 4464050"/>
              <a:gd name="connsiteX28" fmla="*/ 0 w 3534389"/>
              <a:gd name="connsiteY28" fmla="*/ 446405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0 h 4464050"/>
              <a:gd name="connsiteX20" fmla="*/ 1396 w 2787465"/>
              <a:gd name="connsiteY20" fmla="*/ 0 h 4464050"/>
              <a:gd name="connsiteX21" fmla="*/ 502806 w 2787465"/>
              <a:gd name="connsiteY21" fmla="*/ 570628 h 4464050"/>
              <a:gd name="connsiteX22" fmla="*/ 502806 w 2787465"/>
              <a:gd name="connsiteY22" fmla="*/ 3893320 h 4464050"/>
              <a:gd name="connsiteX23" fmla="*/ 1305 w 2787465"/>
              <a:gd name="connsiteY23" fmla="*/ 4464050 h 4464050"/>
              <a:gd name="connsiteX24" fmla="*/ 0 w 2787465"/>
              <a:gd name="connsiteY24" fmla="*/ 4464050 h 4464050"/>
              <a:gd name="connsiteX25" fmla="*/ 0 w 2787465"/>
              <a:gd name="connsiteY25" fmla="*/ 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0 h 4464050"/>
              <a:gd name="connsiteX20" fmla="*/ 1396 w 2787465"/>
              <a:gd name="connsiteY20" fmla="*/ 0 h 4464050"/>
              <a:gd name="connsiteX21" fmla="*/ 502806 w 2787465"/>
              <a:gd name="connsiteY21" fmla="*/ 3893320 h 4464050"/>
              <a:gd name="connsiteX22" fmla="*/ 1305 w 2787465"/>
              <a:gd name="connsiteY22" fmla="*/ 4464050 h 4464050"/>
              <a:gd name="connsiteX23" fmla="*/ 0 w 2787465"/>
              <a:gd name="connsiteY23" fmla="*/ 4464050 h 4464050"/>
              <a:gd name="connsiteX24" fmla="*/ 0 w 2787465"/>
              <a:gd name="connsiteY24" fmla="*/ 0 h 4464050"/>
              <a:gd name="connsiteX0" fmla="*/ 2809119 w 2809119"/>
              <a:gd name="connsiteY0" fmla="*/ 3569 h 4464050"/>
              <a:gd name="connsiteX1" fmla="*/ 2809119 w 2809119"/>
              <a:gd name="connsiteY1" fmla="*/ 4460478 h 4464050"/>
              <a:gd name="connsiteX2" fmla="*/ 2009507 w 2809119"/>
              <a:gd name="connsiteY2" fmla="*/ 3893419 h 4464050"/>
              <a:gd name="connsiteX3" fmla="*/ 2009507 w 2809119"/>
              <a:gd name="connsiteY3" fmla="*/ 570628 h 4464050"/>
              <a:gd name="connsiteX4" fmla="*/ 2809119 w 2809119"/>
              <a:gd name="connsiteY4" fmla="*/ 3569 h 4464050"/>
              <a:gd name="connsiteX5" fmla="*/ 1890916 w 2809119"/>
              <a:gd name="connsiteY5" fmla="*/ 0 h 4464050"/>
              <a:gd name="connsiteX6" fmla="*/ 1892668 w 2809119"/>
              <a:gd name="connsiteY6" fmla="*/ 0 h 4464050"/>
              <a:gd name="connsiteX7" fmla="*/ 1892668 w 2809119"/>
              <a:gd name="connsiteY7" fmla="*/ 4464050 h 4464050"/>
              <a:gd name="connsiteX8" fmla="*/ 1890919 w 2809119"/>
              <a:gd name="connsiteY8" fmla="*/ 4464050 h 4464050"/>
              <a:gd name="connsiteX9" fmla="*/ 1261141 w 2809119"/>
              <a:gd name="connsiteY9" fmla="*/ 3893419 h 4464050"/>
              <a:gd name="connsiteX10" fmla="*/ 1261141 w 2809119"/>
              <a:gd name="connsiteY10" fmla="*/ 570628 h 4464050"/>
              <a:gd name="connsiteX11" fmla="*/ 1890916 w 2809119"/>
              <a:gd name="connsiteY11" fmla="*/ 0 h 4464050"/>
              <a:gd name="connsiteX12" fmla="*/ 1142709 w 2809119"/>
              <a:gd name="connsiteY12" fmla="*/ 0 h 4464050"/>
              <a:gd name="connsiteX13" fmla="*/ 1144104 w 2809119"/>
              <a:gd name="connsiteY13" fmla="*/ 0 h 4464050"/>
              <a:gd name="connsiteX14" fmla="*/ 1144104 w 2809119"/>
              <a:gd name="connsiteY14" fmla="*/ 4464050 h 4464050"/>
              <a:gd name="connsiteX15" fmla="*/ 1142712 w 2809119"/>
              <a:gd name="connsiteY15" fmla="*/ 4464050 h 4464050"/>
              <a:gd name="connsiteX16" fmla="*/ 641299 w 2809119"/>
              <a:gd name="connsiteY16" fmla="*/ 3893419 h 4464050"/>
              <a:gd name="connsiteX17" fmla="*/ 641299 w 2809119"/>
              <a:gd name="connsiteY17" fmla="*/ 570628 h 4464050"/>
              <a:gd name="connsiteX18" fmla="*/ 1142709 w 2809119"/>
              <a:gd name="connsiteY18" fmla="*/ 0 h 4464050"/>
              <a:gd name="connsiteX19" fmla="*/ 0 w 2809119"/>
              <a:gd name="connsiteY19" fmla="*/ 7219 h 4464050"/>
              <a:gd name="connsiteX20" fmla="*/ 23050 w 2809119"/>
              <a:gd name="connsiteY20" fmla="*/ 0 h 4464050"/>
              <a:gd name="connsiteX21" fmla="*/ 524460 w 2809119"/>
              <a:gd name="connsiteY21" fmla="*/ 3893320 h 4464050"/>
              <a:gd name="connsiteX22" fmla="*/ 22959 w 2809119"/>
              <a:gd name="connsiteY22" fmla="*/ 4464050 h 4464050"/>
              <a:gd name="connsiteX23" fmla="*/ 21654 w 2809119"/>
              <a:gd name="connsiteY23" fmla="*/ 4464050 h 4464050"/>
              <a:gd name="connsiteX24" fmla="*/ 0 w 2809119"/>
              <a:gd name="connsiteY24" fmla="*/ 7219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4464050 h 4464050"/>
              <a:gd name="connsiteX20" fmla="*/ 1396 w 2787465"/>
              <a:gd name="connsiteY20" fmla="*/ 0 h 4464050"/>
              <a:gd name="connsiteX21" fmla="*/ 502806 w 2787465"/>
              <a:gd name="connsiteY21" fmla="*/ 3893320 h 4464050"/>
              <a:gd name="connsiteX22" fmla="*/ 1305 w 2787465"/>
              <a:gd name="connsiteY22" fmla="*/ 4464050 h 4464050"/>
              <a:gd name="connsiteX23" fmla="*/ 0 w 2787465"/>
              <a:gd name="connsiteY23" fmla="*/ 446405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4464050 h 4464050"/>
              <a:gd name="connsiteX20" fmla="*/ 1396 w 2787465"/>
              <a:gd name="connsiteY20" fmla="*/ 0 h 4464050"/>
              <a:gd name="connsiteX21" fmla="*/ 1305 w 2787465"/>
              <a:gd name="connsiteY21" fmla="*/ 4464050 h 4464050"/>
              <a:gd name="connsiteX22" fmla="*/ 0 w 2787465"/>
              <a:gd name="connsiteY22" fmla="*/ 4464050 h 4464050"/>
              <a:gd name="connsiteX0" fmla="*/ 2787465 w 2787465"/>
              <a:gd name="connsiteY0" fmla="*/ 3569 h 4464050"/>
              <a:gd name="connsiteX1" fmla="*/ 2787465 w 2787465"/>
              <a:gd name="connsiteY1" fmla="*/ 4460478 h 4464050"/>
              <a:gd name="connsiteX2" fmla="*/ 1987853 w 2787465"/>
              <a:gd name="connsiteY2" fmla="*/ 3893419 h 4464050"/>
              <a:gd name="connsiteX3" fmla="*/ 1987853 w 2787465"/>
              <a:gd name="connsiteY3" fmla="*/ 570628 h 4464050"/>
              <a:gd name="connsiteX4" fmla="*/ 2787465 w 2787465"/>
              <a:gd name="connsiteY4" fmla="*/ 3569 h 4464050"/>
              <a:gd name="connsiteX5" fmla="*/ 1869262 w 2787465"/>
              <a:gd name="connsiteY5" fmla="*/ 0 h 4464050"/>
              <a:gd name="connsiteX6" fmla="*/ 1871014 w 2787465"/>
              <a:gd name="connsiteY6" fmla="*/ 0 h 4464050"/>
              <a:gd name="connsiteX7" fmla="*/ 1871014 w 2787465"/>
              <a:gd name="connsiteY7" fmla="*/ 4464050 h 4464050"/>
              <a:gd name="connsiteX8" fmla="*/ 1869265 w 2787465"/>
              <a:gd name="connsiteY8" fmla="*/ 4464050 h 4464050"/>
              <a:gd name="connsiteX9" fmla="*/ 1239487 w 2787465"/>
              <a:gd name="connsiteY9" fmla="*/ 3893419 h 4464050"/>
              <a:gd name="connsiteX10" fmla="*/ 1239487 w 2787465"/>
              <a:gd name="connsiteY10" fmla="*/ 570628 h 4464050"/>
              <a:gd name="connsiteX11" fmla="*/ 1869262 w 2787465"/>
              <a:gd name="connsiteY11" fmla="*/ 0 h 4464050"/>
              <a:gd name="connsiteX12" fmla="*/ 1121055 w 2787465"/>
              <a:gd name="connsiteY12" fmla="*/ 0 h 4464050"/>
              <a:gd name="connsiteX13" fmla="*/ 1122450 w 2787465"/>
              <a:gd name="connsiteY13" fmla="*/ 0 h 4464050"/>
              <a:gd name="connsiteX14" fmla="*/ 1122450 w 2787465"/>
              <a:gd name="connsiteY14" fmla="*/ 4464050 h 4464050"/>
              <a:gd name="connsiteX15" fmla="*/ 1121058 w 2787465"/>
              <a:gd name="connsiteY15" fmla="*/ 4464050 h 4464050"/>
              <a:gd name="connsiteX16" fmla="*/ 619645 w 2787465"/>
              <a:gd name="connsiteY16" fmla="*/ 3893419 h 4464050"/>
              <a:gd name="connsiteX17" fmla="*/ 619645 w 2787465"/>
              <a:gd name="connsiteY17" fmla="*/ 570628 h 4464050"/>
              <a:gd name="connsiteX18" fmla="*/ 1121055 w 2787465"/>
              <a:gd name="connsiteY18" fmla="*/ 0 h 4464050"/>
              <a:gd name="connsiteX19" fmla="*/ 0 w 2787465"/>
              <a:gd name="connsiteY19" fmla="*/ 4464050 h 4464050"/>
              <a:gd name="connsiteX20" fmla="*/ 1305 w 2787465"/>
              <a:gd name="connsiteY20" fmla="*/ 4464050 h 4464050"/>
              <a:gd name="connsiteX21" fmla="*/ 0 w 2787465"/>
              <a:gd name="connsiteY21" fmla="*/ 4464050 h 4464050"/>
              <a:gd name="connsiteX0" fmla="*/ 2167820 w 2167820"/>
              <a:gd name="connsiteY0" fmla="*/ 3569 h 4464050"/>
              <a:gd name="connsiteX1" fmla="*/ 2167820 w 2167820"/>
              <a:gd name="connsiteY1" fmla="*/ 4460478 h 4464050"/>
              <a:gd name="connsiteX2" fmla="*/ 1368208 w 2167820"/>
              <a:gd name="connsiteY2" fmla="*/ 3893419 h 4464050"/>
              <a:gd name="connsiteX3" fmla="*/ 1368208 w 2167820"/>
              <a:gd name="connsiteY3" fmla="*/ 570628 h 4464050"/>
              <a:gd name="connsiteX4" fmla="*/ 2167820 w 2167820"/>
              <a:gd name="connsiteY4" fmla="*/ 3569 h 4464050"/>
              <a:gd name="connsiteX5" fmla="*/ 1249617 w 2167820"/>
              <a:gd name="connsiteY5" fmla="*/ 0 h 4464050"/>
              <a:gd name="connsiteX6" fmla="*/ 1251369 w 2167820"/>
              <a:gd name="connsiteY6" fmla="*/ 0 h 4464050"/>
              <a:gd name="connsiteX7" fmla="*/ 1251369 w 2167820"/>
              <a:gd name="connsiteY7" fmla="*/ 4464050 h 4464050"/>
              <a:gd name="connsiteX8" fmla="*/ 1249620 w 2167820"/>
              <a:gd name="connsiteY8" fmla="*/ 4464050 h 4464050"/>
              <a:gd name="connsiteX9" fmla="*/ 619842 w 2167820"/>
              <a:gd name="connsiteY9" fmla="*/ 3893419 h 4464050"/>
              <a:gd name="connsiteX10" fmla="*/ 619842 w 2167820"/>
              <a:gd name="connsiteY10" fmla="*/ 570628 h 4464050"/>
              <a:gd name="connsiteX11" fmla="*/ 1249617 w 2167820"/>
              <a:gd name="connsiteY11" fmla="*/ 0 h 4464050"/>
              <a:gd name="connsiteX12" fmla="*/ 501410 w 2167820"/>
              <a:gd name="connsiteY12" fmla="*/ 0 h 4464050"/>
              <a:gd name="connsiteX13" fmla="*/ 502805 w 2167820"/>
              <a:gd name="connsiteY13" fmla="*/ 0 h 4464050"/>
              <a:gd name="connsiteX14" fmla="*/ 502805 w 2167820"/>
              <a:gd name="connsiteY14" fmla="*/ 4464050 h 4464050"/>
              <a:gd name="connsiteX15" fmla="*/ 501413 w 2167820"/>
              <a:gd name="connsiteY15" fmla="*/ 4464050 h 4464050"/>
              <a:gd name="connsiteX16" fmla="*/ 0 w 2167820"/>
              <a:gd name="connsiteY16" fmla="*/ 3893419 h 4464050"/>
              <a:gd name="connsiteX17" fmla="*/ 0 w 2167820"/>
              <a:gd name="connsiteY17" fmla="*/ 570628 h 4464050"/>
              <a:gd name="connsiteX18" fmla="*/ 501410 w 2167820"/>
              <a:gd name="connsiteY18" fmla="*/ 0 h 446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167820" h="4464050">
                <a:moveTo>
                  <a:pt x="2167820" y="3569"/>
                </a:moveTo>
                <a:lnTo>
                  <a:pt x="2167820" y="4460478"/>
                </a:lnTo>
                <a:lnTo>
                  <a:pt x="1368208" y="3893419"/>
                </a:lnTo>
                <a:lnTo>
                  <a:pt x="1368208" y="570628"/>
                </a:lnTo>
                <a:lnTo>
                  <a:pt x="2167820" y="3569"/>
                </a:lnTo>
                <a:close/>
                <a:moveTo>
                  <a:pt x="1249617" y="0"/>
                </a:moveTo>
                <a:lnTo>
                  <a:pt x="1251369" y="0"/>
                </a:lnTo>
                <a:lnTo>
                  <a:pt x="1251369" y="4464050"/>
                </a:lnTo>
                <a:lnTo>
                  <a:pt x="1249620" y="4464050"/>
                </a:lnTo>
                <a:lnTo>
                  <a:pt x="619842" y="3893419"/>
                </a:lnTo>
                <a:lnTo>
                  <a:pt x="619842" y="570628"/>
                </a:lnTo>
                <a:lnTo>
                  <a:pt x="1249617" y="0"/>
                </a:lnTo>
                <a:close/>
                <a:moveTo>
                  <a:pt x="501410" y="0"/>
                </a:moveTo>
                <a:lnTo>
                  <a:pt x="502805" y="0"/>
                </a:lnTo>
                <a:lnTo>
                  <a:pt x="502805" y="4464050"/>
                </a:lnTo>
                <a:lnTo>
                  <a:pt x="501413" y="4464050"/>
                </a:lnTo>
                <a:lnTo>
                  <a:pt x="0" y="3893419"/>
                </a:lnTo>
                <a:lnTo>
                  <a:pt x="0" y="570628"/>
                </a:lnTo>
                <a:lnTo>
                  <a:pt x="50141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insert picture</a:t>
            </a:r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CE77EB60-ACA1-6112-BDA5-237DF487574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81765" y="428625"/>
            <a:ext cx="1912188" cy="3924299"/>
          </a:xfrm>
          <a:custGeom>
            <a:avLst/>
            <a:gdLst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3541647 w 4459850"/>
              <a:gd name="connsiteY4" fmla="*/ 0 h 4464050"/>
              <a:gd name="connsiteX5" fmla="*/ 3543399 w 4459850"/>
              <a:gd name="connsiteY5" fmla="*/ 0 h 4464050"/>
              <a:gd name="connsiteX6" fmla="*/ 3543399 w 4459850"/>
              <a:gd name="connsiteY6" fmla="*/ 4464050 h 4464050"/>
              <a:gd name="connsiteX7" fmla="*/ 3541650 w 4459850"/>
              <a:gd name="connsiteY7" fmla="*/ 4464050 h 4464050"/>
              <a:gd name="connsiteX8" fmla="*/ 2911872 w 4459850"/>
              <a:gd name="connsiteY8" fmla="*/ 3893419 h 4464050"/>
              <a:gd name="connsiteX9" fmla="*/ 2911872 w 4459850"/>
              <a:gd name="connsiteY9" fmla="*/ 570628 h 4464050"/>
              <a:gd name="connsiteX10" fmla="*/ 2793440 w 4459850"/>
              <a:gd name="connsiteY10" fmla="*/ 0 h 4464050"/>
              <a:gd name="connsiteX11" fmla="*/ 2794835 w 4459850"/>
              <a:gd name="connsiteY11" fmla="*/ 0 h 4464050"/>
              <a:gd name="connsiteX12" fmla="*/ 2794835 w 4459850"/>
              <a:gd name="connsiteY12" fmla="*/ 4464050 h 4464050"/>
              <a:gd name="connsiteX13" fmla="*/ 2793443 w 4459850"/>
              <a:gd name="connsiteY13" fmla="*/ 4464050 h 4464050"/>
              <a:gd name="connsiteX14" fmla="*/ 2292030 w 4459850"/>
              <a:gd name="connsiteY14" fmla="*/ 3893419 h 4464050"/>
              <a:gd name="connsiteX15" fmla="*/ 2292030 w 4459850"/>
              <a:gd name="connsiteY15" fmla="*/ 570628 h 4464050"/>
              <a:gd name="connsiteX16" fmla="*/ 1672385 w 4459850"/>
              <a:gd name="connsiteY16" fmla="*/ 0 h 4464050"/>
              <a:gd name="connsiteX17" fmla="*/ 1673781 w 4459850"/>
              <a:gd name="connsiteY17" fmla="*/ 0 h 4464050"/>
              <a:gd name="connsiteX18" fmla="*/ 2175191 w 4459850"/>
              <a:gd name="connsiteY18" fmla="*/ 570628 h 4464050"/>
              <a:gd name="connsiteX19" fmla="*/ 2175191 w 4459850"/>
              <a:gd name="connsiteY19" fmla="*/ 3893320 h 4464050"/>
              <a:gd name="connsiteX20" fmla="*/ 1673690 w 4459850"/>
              <a:gd name="connsiteY20" fmla="*/ 4464050 h 4464050"/>
              <a:gd name="connsiteX21" fmla="*/ 1672385 w 4459850"/>
              <a:gd name="connsiteY21" fmla="*/ 4464050 h 4464050"/>
              <a:gd name="connsiteX22" fmla="*/ 923822 w 4459850"/>
              <a:gd name="connsiteY22" fmla="*/ 0 h 4464050"/>
              <a:gd name="connsiteX23" fmla="*/ 925575 w 4459850"/>
              <a:gd name="connsiteY23" fmla="*/ 0 h 4464050"/>
              <a:gd name="connsiteX24" fmla="*/ 1555348 w 4459850"/>
              <a:gd name="connsiteY24" fmla="*/ 570628 h 4464050"/>
              <a:gd name="connsiteX25" fmla="*/ 1555348 w 4459850"/>
              <a:gd name="connsiteY25" fmla="*/ 3893320 h 4464050"/>
              <a:gd name="connsiteX26" fmla="*/ 925461 w 4459850"/>
              <a:gd name="connsiteY26" fmla="*/ 4464050 h 4464050"/>
              <a:gd name="connsiteX27" fmla="*/ 923822 w 4459850"/>
              <a:gd name="connsiteY27" fmla="*/ 4464050 h 4464050"/>
              <a:gd name="connsiteX28" fmla="*/ 0 w 4459850"/>
              <a:gd name="connsiteY28" fmla="*/ 0 h 4464050"/>
              <a:gd name="connsiteX29" fmla="*/ 2239 w 4459850"/>
              <a:gd name="connsiteY29" fmla="*/ 0 h 4464050"/>
              <a:gd name="connsiteX30" fmla="*/ 806883 w 4459850"/>
              <a:gd name="connsiteY30" fmla="*/ 570628 h 4464050"/>
              <a:gd name="connsiteX31" fmla="*/ 806883 w 4459850"/>
              <a:gd name="connsiteY31" fmla="*/ 3893419 h 4464050"/>
              <a:gd name="connsiteX32" fmla="*/ 2234 w 4459850"/>
              <a:gd name="connsiteY32" fmla="*/ 4464050 h 4464050"/>
              <a:gd name="connsiteX33" fmla="*/ 0 w 4459850"/>
              <a:gd name="connsiteY33" fmla="*/ 446405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292030 w 4459850"/>
              <a:gd name="connsiteY12" fmla="*/ 570628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2292030 w 4459850"/>
              <a:gd name="connsiteY17" fmla="*/ 570628 h 4464050"/>
              <a:gd name="connsiteX18" fmla="*/ 1672385 w 4459850"/>
              <a:gd name="connsiteY18" fmla="*/ 0 h 4464050"/>
              <a:gd name="connsiteX19" fmla="*/ 1673781 w 4459850"/>
              <a:gd name="connsiteY19" fmla="*/ 0 h 4464050"/>
              <a:gd name="connsiteX20" fmla="*/ 2175191 w 4459850"/>
              <a:gd name="connsiteY20" fmla="*/ 570628 h 4464050"/>
              <a:gd name="connsiteX21" fmla="*/ 2175191 w 4459850"/>
              <a:gd name="connsiteY21" fmla="*/ 3893320 h 4464050"/>
              <a:gd name="connsiteX22" fmla="*/ 1673690 w 4459850"/>
              <a:gd name="connsiteY22" fmla="*/ 4464050 h 4464050"/>
              <a:gd name="connsiteX23" fmla="*/ 1672385 w 4459850"/>
              <a:gd name="connsiteY23" fmla="*/ 4464050 h 4464050"/>
              <a:gd name="connsiteX24" fmla="*/ 1672385 w 4459850"/>
              <a:gd name="connsiteY24" fmla="*/ 0 h 4464050"/>
              <a:gd name="connsiteX25" fmla="*/ 923822 w 4459850"/>
              <a:gd name="connsiteY25" fmla="*/ 0 h 4464050"/>
              <a:gd name="connsiteX26" fmla="*/ 925575 w 4459850"/>
              <a:gd name="connsiteY26" fmla="*/ 0 h 4464050"/>
              <a:gd name="connsiteX27" fmla="*/ 1555348 w 4459850"/>
              <a:gd name="connsiteY27" fmla="*/ 570628 h 4464050"/>
              <a:gd name="connsiteX28" fmla="*/ 1555348 w 4459850"/>
              <a:gd name="connsiteY28" fmla="*/ 3893320 h 4464050"/>
              <a:gd name="connsiteX29" fmla="*/ 925461 w 4459850"/>
              <a:gd name="connsiteY29" fmla="*/ 4464050 h 4464050"/>
              <a:gd name="connsiteX30" fmla="*/ 923822 w 4459850"/>
              <a:gd name="connsiteY30" fmla="*/ 4464050 h 4464050"/>
              <a:gd name="connsiteX31" fmla="*/ 923822 w 4459850"/>
              <a:gd name="connsiteY31" fmla="*/ 0 h 4464050"/>
              <a:gd name="connsiteX32" fmla="*/ 0 w 4459850"/>
              <a:gd name="connsiteY32" fmla="*/ 0 h 4464050"/>
              <a:gd name="connsiteX33" fmla="*/ 2239 w 4459850"/>
              <a:gd name="connsiteY33" fmla="*/ 0 h 4464050"/>
              <a:gd name="connsiteX34" fmla="*/ 806883 w 4459850"/>
              <a:gd name="connsiteY34" fmla="*/ 570628 h 4464050"/>
              <a:gd name="connsiteX35" fmla="*/ 806883 w 4459850"/>
              <a:gd name="connsiteY35" fmla="*/ 3893419 h 4464050"/>
              <a:gd name="connsiteX36" fmla="*/ 2234 w 4459850"/>
              <a:gd name="connsiteY36" fmla="*/ 4464050 h 4464050"/>
              <a:gd name="connsiteX37" fmla="*/ 0 w 4459850"/>
              <a:gd name="connsiteY37" fmla="*/ 4464050 h 4464050"/>
              <a:gd name="connsiteX38" fmla="*/ 0 w 4459850"/>
              <a:gd name="connsiteY38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292030 w 4459850"/>
              <a:gd name="connsiteY12" fmla="*/ 3893419 h 4464050"/>
              <a:gd name="connsiteX13" fmla="*/ 2794835 w 4459850"/>
              <a:gd name="connsiteY13" fmla="*/ 0 h 4464050"/>
              <a:gd name="connsiteX14" fmla="*/ 2794835 w 4459850"/>
              <a:gd name="connsiteY14" fmla="*/ 4464050 h 4464050"/>
              <a:gd name="connsiteX15" fmla="*/ 2793443 w 4459850"/>
              <a:gd name="connsiteY15" fmla="*/ 4464050 h 4464050"/>
              <a:gd name="connsiteX16" fmla="*/ 2292030 w 4459850"/>
              <a:gd name="connsiteY16" fmla="*/ 3893419 h 4464050"/>
              <a:gd name="connsiteX17" fmla="*/ 1672385 w 4459850"/>
              <a:gd name="connsiteY17" fmla="*/ 0 h 4464050"/>
              <a:gd name="connsiteX18" fmla="*/ 1673781 w 4459850"/>
              <a:gd name="connsiteY18" fmla="*/ 0 h 4464050"/>
              <a:gd name="connsiteX19" fmla="*/ 2175191 w 4459850"/>
              <a:gd name="connsiteY19" fmla="*/ 570628 h 4464050"/>
              <a:gd name="connsiteX20" fmla="*/ 2175191 w 4459850"/>
              <a:gd name="connsiteY20" fmla="*/ 3893320 h 4464050"/>
              <a:gd name="connsiteX21" fmla="*/ 1673690 w 4459850"/>
              <a:gd name="connsiteY21" fmla="*/ 4464050 h 4464050"/>
              <a:gd name="connsiteX22" fmla="*/ 1672385 w 4459850"/>
              <a:gd name="connsiteY22" fmla="*/ 4464050 h 4464050"/>
              <a:gd name="connsiteX23" fmla="*/ 1672385 w 4459850"/>
              <a:gd name="connsiteY23" fmla="*/ 0 h 4464050"/>
              <a:gd name="connsiteX24" fmla="*/ 923822 w 4459850"/>
              <a:gd name="connsiteY24" fmla="*/ 0 h 4464050"/>
              <a:gd name="connsiteX25" fmla="*/ 925575 w 4459850"/>
              <a:gd name="connsiteY25" fmla="*/ 0 h 4464050"/>
              <a:gd name="connsiteX26" fmla="*/ 1555348 w 4459850"/>
              <a:gd name="connsiteY26" fmla="*/ 570628 h 4464050"/>
              <a:gd name="connsiteX27" fmla="*/ 1555348 w 4459850"/>
              <a:gd name="connsiteY27" fmla="*/ 3893320 h 4464050"/>
              <a:gd name="connsiteX28" fmla="*/ 925461 w 4459850"/>
              <a:gd name="connsiteY28" fmla="*/ 4464050 h 4464050"/>
              <a:gd name="connsiteX29" fmla="*/ 923822 w 4459850"/>
              <a:gd name="connsiteY29" fmla="*/ 4464050 h 4464050"/>
              <a:gd name="connsiteX30" fmla="*/ 923822 w 4459850"/>
              <a:gd name="connsiteY30" fmla="*/ 0 h 4464050"/>
              <a:gd name="connsiteX31" fmla="*/ 0 w 4459850"/>
              <a:gd name="connsiteY31" fmla="*/ 0 h 4464050"/>
              <a:gd name="connsiteX32" fmla="*/ 2239 w 4459850"/>
              <a:gd name="connsiteY32" fmla="*/ 0 h 4464050"/>
              <a:gd name="connsiteX33" fmla="*/ 806883 w 4459850"/>
              <a:gd name="connsiteY33" fmla="*/ 570628 h 4464050"/>
              <a:gd name="connsiteX34" fmla="*/ 806883 w 4459850"/>
              <a:gd name="connsiteY34" fmla="*/ 3893419 h 4464050"/>
              <a:gd name="connsiteX35" fmla="*/ 2234 w 4459850"/>
              <a:gd name="connsiteY35" fmla="*/ 4464050 h 4464050"/>
              <a:gd name="connsiteX36" fmla="*/ 0 w 4459850"/>
              <a:gd name="connsiteY36" fmla="*/ 4464050 h 4464050"/>
              <a:gd name="connsiteX37" fmla="*/ 0 w 4459850"/>
              <a:gd name="connsiteY37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292030 w 4459850"/>
              <a:gd name="connsiteY12" fmla="*/ 3893419 h 4464050"/>
              <a:gd name="connsiteX13" fmla="*/ 2794835 w 4459850"/>
              <a:gd name="connsiteY13" fmla="*/ 4464050 h 4464050"/>
              <a:gd name="connsiteX14" fmla="*/ 2793443 w 4459850"/>
              <a:gd name="connsiteY14" fmla="*/ 4464050 h 4464050"/>
              <a:gd name="connsiteX15" fmla="*/ 2292030 w 4459850"/>
              <a:gd name="connsiteY15" fmla="*/ 3893419 h 4464050"/>
              <a:gd name="connsiteX16" fmla="*/ 1672385 w 4459850"/>
              <a:gd name="connsiteY16" fmla="*/ 0 h 4464050"/>
              <a:gd name="connsiteX17" fmla="*/ 1673781 w 4459850"/>
              <a:gd name="connsiteY17" fmla="*/ 0 h 4464050"/>
              <a:gd name="connsiteX18" fmla="*/ 2175191 w 4459850"/>
              <a:gd name="connsiteY18" fmla="*/ 570628 h 4464050"/>
              <a:gd name="connsiteX19" fmla="*/ 2175191 w 4459850"/>
              <a:gd name="connsiteY19" fmla="*/ 3893320 h 4464050"/>
              <a:gd name="connsiteX20" fmla="*/ 1673690 w 4459850"/>
              <a:gd name="connsiteY20" fmla="*/ 4464050 h 4464050"/>
              <a:gd name="connsiteX21" fmla="*/ 1672385 w 4459850"/>
              <a:gd name="connsiteY21" fmla="*/ 4464050 h 4464050"/>
              <a:gd name="connsiteX22" fmla="*/ 1672385 w 4459850"/>
              <a:gd name="connsiteY22" fmla="*/ 0 h 4464050"/>
              <a:gd name="connsiteX23" fmla="*/ 923822 w 4459850"/>
              <a:gd name="connsiteY23" fmla="*/ 0 h 4464050"/>
              <a:gd name="connsiteX24" fmla="*/ 925575 w 4459850"/>
              <a:gd name="connsiteY24" fmla="*/ 0 h 4464050"/>
              <a:gd name="connsiteX25" fmla="*/ 1555348 w 4459850"/>
              <a:gd name="connsiteY25" fmla="*/ 570628 h 4464050"/>
              <a:gd name="connsiteX26" fmla="*/ 1555348 w 4459850"/>
              <a:gd name="connsiteY26" fmla="*/ 3893320 h 4464050"/>
              <a:gd name="connsiteX27" fmla="*/ 925461 w 4459850"/>
              <a:gd name="connsiteY27" fmla="*/ 4464050 h 4464050"/>
              <a:gd name="connsiteX28" fmla="*/ 923822 w 4459850"/>
              <a:gd name="connsiteY28" fmla="*/ 4464050 h 4464050"/>
              <a:gd name="connsiteX29" fmla="*/ 923822 w 4459850"/>
              <a:gd name="connsiteY29" fmla="*/ 0 h 4464050"/>
              <a:gd name="connsiteX30" fmla="*/ 0 w 4459850"/>
              <a:gd name="connsiteY30" fmla="*/ 0 h 4464050"/>
              <a:gd name="connsiteX31" fmla="*/ 2239 w 4459850"/>
              <a:gd name="connsiteY31" fmla="*/ 0 h 4464050"/>
              <a:gd name="connsiteX32" fmla="*/ 806883 w 4459850"/>
              <a:gd name="connsiteY32" fmla="*/ 570628 h 4464050"/>
              <a:gd name="connsiteX33" fmla="*/ 806883 w 4459850"/>
              <a:gd name="connsiteY33" fmla="*/ 3893419 h 4464050"/>
              <a:gd name="connsiteX34" fmla="*/ 2234 w 4459850"/>
              <a:gd name="connsiteY34" fmla="*/ 4464050 h 4464050"/>
              <a:gd name="connsiteX35" fmla="*/ 0 w 4459850"/>
              <a:gd name="connsiteY35" fmla="*/ 4464050 h 4464050"/>
              <a:gd name="connsiteX36" fmla="*/ 0 w 4459850"/>
              <a:gd name="connsiteY36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2793443 w 4459850"/>
              <a:gd name="connsiteY12" fmla="*/ 4464050 h 4464050"/>
              <a:gd name="connsiteX13" fmla="*/ 2794835 w 4459850"/>
              <a:gd name="connsiteY13" fmla="*/ 4464050 h 4464050"/>
              <a:gd name="connsiteX14" fmla="*/ 2793443 w 4459850"/>
              <a:gd name="connsiteY14" fmla="*/ 4464050 h 4464050"/>
              <a:gd name="connsiteX15" fmla="*/ 1672385 w 4459850"/>
              <a:gd name="connsiteY15" fmla="*/ 0 h 4464050"/>
              <a:gd name="connsiteX16" fmla="*/ 1673781 w 4459850"/>
              <a:gd name="connsiteY16" fmla="*/ 0 h 4464050"/>
              <a:gd name="connsiteX17" fmla="*/ 2175191 w 4459850"/>
              <a:gd name="connsiteY17" fmla="*/ 570628 h 4464050"/>
              <a:gd name="connsiteX18" fmla="*/ 2175191 w 4459850"/>
              <a:gd name="connsiteY18" fmla="*/ 3893320 h 4464050"/>
              <a:gd name="connsiteX19" fmla="*/ 1673690 w 4459850"/>
              <a:gd name="connsiteY19" fmla="*/ 4464050 h 4464050"/>
              <a:gd name="connsiteX20" fmla="*/ 1672385 w 4459850"/>
              <a:gd name="connsiteY20" fmla="*/ 4464050 h 4464050"/>
              <a:gd name="connsiteX21" fmla="*/ 1672385 w 4459850"/>
              <a:gd name="connsiteY21" fmla="*/ 0 h 4464050"/>
              <a:gd name="connsiteX22" fmla="*/ 923822 w 4459850"/>
              <a:gd name="connsiteY22" fmla="*/ 0 h 4464050"/>
              <a:gd name="connsiteX23" fmla="*/ 925575 w 4459850"/>
              <a:gd name="connsiteY23" fmla="*/ 0 h 4464050"/>
              <a:gd name="connsiteX24" fmla="*/ 1555348 w 4459850"/>
              <a:gd name="connsiteY24" fmla="*/ 570628 h 4464050"/>
              <a:gd name="connsiteX25" fmla="*/ 1555348 w 4459850"/>
              <a:gd name="connsiteY25" fmla="*/ 3893320 h 4464050"/>
              <a:gd name="connsiteX26" fmla="*/ 925461 w 4459850"/>
              <a:gd name="connsiteY26" fmla="*/ 4464050 h 4464050"/>
              <a:gd name="connsiteX27" fmla="*/ 923822 w 4459850"/>
              <a:gd name="connsiteY27" fmla="*/ 4464050 h 4464050"/>
              <a:gd name="connsiteX28" fmla="*/ 923822 w 4459850"/>
              <a:gd name="connsiteY28" fmla="*/ 0 h 4464050"/>
              <a:gd name="connsiteX29" fmla="*/ 0 w 4459850"/>
              <a:gd name="connsiteY29" fmla="*/ 0 h 4464050"/>
              <a:gd name="connsiteX30" fmla="*/ 2239 w 4459850"/>
              <a:gd name="connsiteY30" fmla="*/ 0 h 4464050"/>
              <a:gd name="connsiteX31" fmla="*/ 806883 w 4459850"/>
              <a:gd name="connsiteY31" fmla="*/ 570628 h 4464050"/>
              <a:gd name="connsiteX32" fmla="*/ 806883 w 4459850"/>
              <a:gd name="connsiteY32" fmla="*/ 3893419 h 4464050"/>
              <a:gd name="connsiteX33" fmla="*/ 2234 w 4459850"/>
              <a:gd name="connsiteY33" fmla="*/ 4464050 h 4464050"/>
              <a:gd name="connsiteX34" fmla="*/ 0 w 4459850"/>
              <a:gd name="connsiteY34" fmla="*/ 4464050 h 4464050"/>
              <a:gd name="connsiteX35" fmla="*/ 0 w 4459850"/>
              <a:gd name="connsiteY35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3541650 w 4459850"/>
              <a:gd name="connsiteY8" fmla="*/ 4464050 h 4464050"/>
              <a:gd name="connsiteX9" fmla="*/ 2911872 w 4459850"/>
              <a:gd name="connsiteY9" fmla="*/ 3893419 h 4464050"/>
              <a:gd name="connsiteX10" fmla="*/ 2911872 w 4459850"/>
              <a:gd name="connsiteY10" fmla="*/ 570628 h 4464050"/>
              <a:gd name="connsiteX11" fmla="*/ 3541647 w 4459850"/>
              <a:gd name="connsiteY11" fmla="*/ 0 h 4464050"/>
              <a:gd name="connsiteX12" fmla="*/ 1672385 w 4459850"/>
              <a:gd name="connsiteY12" fmla="*/ 0 h 4464050"/>
              <a:gd name="connsiteX13" fmla="*/ 1673781 w 4459850"/>
              <a:gd name="connsiteY13" fmla="*/ 0 h 4464050"/>
              <a:gd name="connsiteX14" fmla="*/ 2175191 w 4459850"/>
              <a:gd name="connsiteY14" fmla="*/ 570628 h 4464050"/>
              <a:gd name="connsiteX15" fmla="*/ 2175191 w 4459850"/>
              <a:gd name="connsiteY15" fmla="*/ 3893320 h 4464050"/>
              <a:gd name="connsiteX16" fmla="*/ 1673690 w 4459850"/>
              <a:gd name="connsiteY16" fmla="*/ 4464050 h 4464050"/>
              <a:gd name="connsiteX17" fmla="*/ 1672385 w 4459850"/>
              <a:gd name="connsiteY17" fmla="*/ 4464050 h 4464050"/>
              <a:gd name="connsiteX18" fmla="*/ 1672385 w 4459850"/>
              <a:gd name="connsiteY18" fmla="*/ 0 h 4464050"/>
              <a:gd name="connsiteX19" fmla="*/ 923822 w 4459850"/>
              <a:gd name="connsiteY19" fmla="*/ 0 h 4464050"/>
              <a:gd name="connsiteX20" fmla="*/ 925575 w 4459850"/>
              <a:gd name="connsiteY20" fmla="*/ 0 h 4464050"/>
              <a:gd name="connsiteX21" fmla="*/ 1555348 w 4459850"/>
              <a:gd name="connsiteY21" fmla="*/ 570628 h 4464050"/>
              <a:gd name="connsiteX22" fmla="*/ 1555348 w 4459850"/>
              <a:gd name="connsiteY22" fmla="*/ 3893320 h 4464050"/>
              <a:gd name="connsiteX23" fmla="*/ 925461 w 4459850"/>
              <a:gd name="connsiteY23" fmla="*/ 4464050 h 4464050"/>
              <a:gd name="connsiteX24" fmla="*/ 923822 w 4459850"/>
              <a:gd name="connsiteY24" fmla="*/ 4464050 h 4464050"/>
              <a:gd name="connsiteX25" fmla="*/ 923822 w 4459850"/>
              <a:gd name="connsiteY25" fmla="*/ 0 h 4464050"/>
              <a:gd name="connsiteX26" fmla="*/ 0 w 4459850"/>
              <a:gd name="connsiteY26" fmla="*/ 0 h 4464050"/>
              <a:gd name="connsiteX27" fmla="*/ 2239 w 4459850"/>
              <a:gd name="connsiteY27" fmla="*/ 0 h 4464050"/>
              <a:gd name="connsiteX28" fmla="*/ 806883 w 4459850"/>
              <a:gd name="connsiteY28" fmla="*/ 570628 h 4464050"/>
              <a:gd name="connsiteX29" fmla="*/ 806883 w 4459850"/>
              <a:gd name="connsiteY29" fmla="*/ 3893419 h 4464050"/>
              <a:gd name="connsiteX30" fmla="*/ 2234 w 4459850"/>
              <a:gd name="connsiteY30" fmla="*/ 4464050 h 4464050"/>
              <a:gd name="connsiteX31" fmla="*/ 0 w 4459850"/>
              <a:gd name="connsiteY31" fmla="*/ 4464050 h 4464050"/>
              <a:gd name="connsiteX32" fmla="*/ 0 w 4459850"/>
              <a:gd name="connsiteY32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3893419 h 4464050"/>
              <a:gd name="connsiteX9" fmla="*/ 2911872 w 4459850"/>
              <a:gd name="connsiteY9" fmla="*/ 570628 h 4464050"/>
              <a:gd name="connsiteX10" fmla="*/ 3541647 w 4459850"/>
              <a:gd name="connsiteY10" fmla="*/ 0 h 4464050"/>
              <a:gd name="connsiteX11" fmla="*/ 1672385 w 4459850"/>
              <a:gd name="connsiteY11" fmla="*/ 0 h 4464050"/>
              <a:gd name="connsiteX12" fmla="*/ 1673781 w 4459850"/>
              <a:gd name="connsiteY12" fmla="*/ 0 h 4464050"/>
              <a:gd name="connsiteX13" fmla="*/ 2175191 w 4459850"/>
              <a:gd name="connsiteY13" fmla="*/ 570628 h 4464050"/>
              <a:gd name="connsiteX14" fmla="*/ 2175191 w 4459850"/>
              <a:gd name="connsiteY14" fmla="*/ 3893320 h 4464050"/>
              <a:gd name="connsiteX15" fmla="*/ 1673690 w 4459850"/>
              <a:gd name="connsiteY15" fmla="*/ 4464050 h 4464050"/>
              <a:gd name="connsiteX16" fmla="*/ 1672385 w 4459850"/>
              <a:gd name="connsiteY16" fmla="*/ 4464050 h 4464050"/>
              <a:gd name="connsiteX17" fmla="*/ 1672385 w 4459850"/>
              <a:gd name="connsiteY17" fmla="*/ 0 h 4464050"/>
              <a:gd name="connsiteX18" fmla="*/ 923822 w 4459850"/>
              <a:gd name="connsiteY18" fmla="*/ 0 h 4464050"/>
              <a:gd name="connsiteX19" fmla="*/ 925575 w 4459850"/>
              <a:gd name="connsiteY19" fmla="*/ 0 h 4464050"/>
              <a:gd name="connsiteX20" fmla="*/ 1555348 w 4459850"/>
              <a:gd name="connsiteY20" fmla="*/ 570628 h 4464050"/>
              <a:gd name="connsiteX21" fmla="*/ 1555348 w 4459850"/>
              <a:gd name="connsiteY21" fmla="*/ 3893320 h 4464050"/>
              <a:gd name="connsiteX22" fmla="*/ 925461 w 4459850"/>
              <a:gd name="connsiteY22" fmla="*/ 4464050 h 4464050"/>
              <a:gd name="connsiteX23" fmla="*/ 923822 w 4459850"/>
              <a:gd name="connsiteY23" fmla="*/ 4464050 h 4464050"/>
              <a:gd name="connsiteX24" fmla="*/ 923822 w 4459850"/>
              <a:gd name="connsiteY24" fmla="*/ 0 h 4464050"/>
              <a:gd name="connsiteX25" fmla="*/ 0 w 4459850"/>
              <a:gd name="connsiteY25" fmla="*/ 0 h 4464050"/>
              <a:gd name="connsiteX26" fmla="*/ 2239 w 4459850"/>
              <a:gd name="connsiteY26" fmla="*/ 0 h 4464050"/>
              <a:gd name="connsiteX27" fmla="*/ 806883 w 4459850"/>
              <a:gd name="connsiteY27" fmla="*/ 570628 h 4464050"/>
              <a:gd name="connsiteX28" fmla="*/ 806883 w 4459850"/>
              <a:gd name="connsiteY28" fmla="*/ 3893419 h 4464050"/>
              <a:gd name="connsiteX29" fmla="*/ 2234 w 4459850"/>
              <a:gd name="connsiteY29" fmla="*/ 4464050 h 4464050"/>
              <a:gd name="connsiteX30" fmla="*/ 0 w 4459850"/>
              <a:gd name="connsiteY30" fmla="*/ 4464050 h 4464050"/>
              <a:gd name="connsiteX31" fmla="*/ 0 w 4459850"/>
              <a:gd name="connsiteY31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41647 w 4459850"/>
              <a:gd name="connsiteY5" fmla="*/ 0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570628 h 4464050"/>
              <a:gd name="connsiteX9" fmla="*/ 3541647 w 4459850"/>
              <a:gd name="connsiteY9" fmla="*/ 0 h 4464050"/>
              <a:gd name="connsiteX10" fmla="*/ 1672385 w 4459850"/>
              <a:gd name="connsiteY10" fmla="*/ 0 h 4464050"/>
              <a:gd name="connsiteX11" fmla="*/ 1673781 w 4459850"/>
              <a:gd name="connsiteY11" fmla="*/ 0 h 4464050"/>
              <a:gd name="connsiteX12" fmla="*/ 2175191 w 4459850"/>
              <a:gd name="connsiteY12" fmla="*/ 570628 h 4464050"/>
              <a:gd name="connsiteX13" fmla="*/ 2175191 w 4459850"/>
              <a:gd name="connsiteY13" fmla="*/ 3893320 h 4464050"/>
              <a:gd name="connsiteX14" fmla="*/ 1673690 w 4459850"/>
              <a:gd name="connsiteY14" fmla="*/ 4464050 h 4464050"/>
              <a:gd name="connsiteX15" fmla="*/ 1672385 w 4459850"/>
              <a:gd name="connsiteY15" fmla="*/ 4464050 h 4464050"/>
              <a:gd name="connsiteX16" fmla="*/ 1672385 w 4459850"/>
              <a:gd name="connsiteY16" fmla="*/ 0 h 4464050"/>
              <a:gd name="connsiteX17" fmla="*/ 923822 w 4459850"/>
              <a:gd name="connsiteY17" fmla="*/ 0 h 4464050"/>
              <a:gd name="connsiteX18" fmla="*/ 925575 w 4459850"/>
              <a:gd name="connsiteY18" fmla="*/ 0 h 4464050"/>
              <a:gd name="connsiteX19" fmla="*/ 1555348 w 4459850"/>
              <a:gd name="connsiteY19" fmla="*/ 570628 h 4464050"/>
              <a:gd name="connsiteX20" fmla="*/ 1555348 w 4459850"/>
              <a:gd name="connsiteY20" fmla="*/ 3893320 h 4464050"/>
              <a:gd name="connsiteX21" fmla="*/ 925461 w 4459850"/>
              <a:gd name="connsiteY21" fmla="*/ 4464050 h 4464050"/>
              <a:gd name="connsiteX22" fmla="*/ 923822 w 4459850"/>
              <a:gd name="connsiteY22" fmla="*/ 4464050 h 4464050"/>
              <a:gd name="connsiteX23" fmla="*/ 923822 w 4459850"/>
              <a:gd name="connsiteY23" fmla="*/ 0 h 4464050"/>
              <a:gd name="connsiteX24" fmla="*/ 0 w 4459850"/>
              <a:gd name="connsiteY24" fmla="*/ 0 h 4464050"/>
              <a:gd name="connsiteX25" fmla="*/ 2239 w 4459850"/>
              <a:gd name="connsiteY25" fmla="*/ 0 h 4464050"/>
              <a:gd name="connsiteX26" fmla="*/ 806883 w 4459850"/>
              <a:gd name="connsiteY26" fmla="*/ 570628 h 4464050"/>
              <a:gd name="connsiteX27" fmla="*/ 806883 w 4459850"/>
              <a:gd name="connsiteY27" fmla="*/ 3893419 h 4464050"/>
              <a:gd name="connsiteX28" fmla="*/ 2234 w 4459850"/>
              <a:gd name="connsiteY28" fmla="*/ 4464050 h 4464050"/>
              <a:gd name="connsiteX29" fmla="*/ 0 w 4459850"/>
              <a:gd name="connsiteY29" fmla="*/ 4464050 h 4464050"/>
              <a:gd name="connsiteX30" fmla="*/ 0 w 4459850"/>
              <a:gd name="connsiteY30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3519994 w 4459850"/>
              <a:gd name="connsiteY5" fmla="*/ 28871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570628 h 4464050"/>
              <a:gd name="connsiteX9" fmla="*/ 3519994 w 4459850"/>
              <a:gd name="connsiteY9" fmla="*/ 28871 h 4464050"/>
              <a:gd name="connsiteX10" fmla="*/ 1672385 w 4459850"/>
              <a:gd name="connsiteY10" fmla="*/ 0 h 4464050"/>
              <a:gd name="connsiteX11" fmla="*/ 1673781 w 4459850"/>
              <a:gd name="connsiteY11" fmla="*/ 0 h 4464050"/>
              <a:gd name="connsiteX12" fmla="*/ 2175191 w 4459850"/>
              <a:gd name="connsiteY12" fmla="*/ 570628 h 4464050"/>
              <a:gd name="connsiteX13" fmla="*/ 2175191 w 4459850"/>
              <a:gd name="connsiteY13" fmla="*/ 3893320 h 4464050"/>
              <a:gd name="connsiteX14" fmla="*/ 1673690 w 4459850"/>
              <a:gd name="connsiteY14" fmla="*/ 4464050 h 4464050"/>
              <a:gd name="connsiteX15" fmla="*/ 1672385 w 4459850"/>
              <a:gd name="connsiteY15" fmla="*/ 4464050 h 4464050"/>
              <a:gd name="connsiteX16" fmla="*/ 1672385 w 4459850"/>
              <a:gd name="connsiteY16" fmla="*/ 0 h 4464050"/>
              <a:gd name="connsiteX17" fmla="*/ 923822 w 4459850"/>
              <a:gd name="connsiteY17" fmla="*/ 0 h 4464050"/>
              <a:gd name="connsiteX18" fmla="*/ 925575 w 4459850"/>
              <a:gd name="connsiteY18" fmla="*/ 0 h 4464050"/>
              <a:gd name="connsiteX19" fmla="*/ 1555348 w 4459850"/>
              <a:gd name="connsiteY19" fmla="*/ 570628 h 4464050"/>
              <a:gd name="connsiteX20" fmla="*/ 1555348 w 4459850"/>
              <a:gd name="connsiteY20" fmla="*/ 3893320 h 4464050"/>
              <a:gd name="connsiteX21" fmla="*/ 925461 w 4459850"/>
              <a:gd name="connsiteY21" fmla="*/ 4464050 h 4464050"/>
              <a:gd name="connsiteX22" fmla="*/ 923822 w 4459850"/>
              <a:gd name="connsiteY22" fmla="*/ 4464050 h 4464050"/>
              <a:gd name="connsiteX23" fmla="*/ 923822 w 4459850"/>
              <a:gd name="connsiteY23" fmla="*/ 0 h 4464050"/>
              <a:gd name="connsiteX24" fmla="*/ 0 w 4459850"/>
              <a:gd name="connsiteY24" fmla="*/ 0 h 4464050"/>
              <a:gd name="connsiteX25" fmla="*/ 2239 w 4459850"/>
              <a:gd name="connsiteY25" fmla="*/ 0 h 4464050"/>
              <a:gd name="connsiteX26" fmla="*/ 806883 w 4459850"/>
              <a:gd name="connsiteY26" fmla="*/ 570628 h 4464050"/>
              <a:gd name="connsiteX27" fmla="*/ 806883 w 4459850"/>
              <a:gd name="connsiteY27" fmla="*/ 3893419 h 4464050"/>
              <a:gd name="connsiteX28" fmla="*/ 2234 w 4459850"/>
              <a:gd name="connsiteY28" fmla="*/ 4464050 h 4464050"/>
              <a:gd name="connsiteX29" fmla="*/ 0 w 4459850"/>
              <a:gd name="connsiteY29" fmla="*/ 4464050 h 4464050"/>
              <a:gd name="connsiteX30" fmla="*/ 0 w 4459850"/>
              <a:gd name="connsiteY30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2911872 w 4459850"/>
              <a:gd name="connsiteY5" fmla="*/ 570628 h 4464050"/>
              <a:gd name="connsiteX6" fmla="*/ 3543399 w 4459850"/>
              <a:gd name="connsiteY6" fmla="*/ 0 h 4464050"/>
              <a:gd name="connsiteX7" fmla="*/ 3543399 w 4459850"/>
              <a:gd name="connsiteY7" fmla="*/ 4464050 h 4464050"/>
              <a:gd name="connsiteX8" fmla="*/ 2911872 w 4459850"/>
              <a:gd name="connsiteY8" fmla="*/ 570628 h 4464050"/>
              <a:gd name="connsiteX9" fmla="*/ 1672385 w 4459850"/>
              <a:gd name="connsiteY9" fmla="*/ 0 h 4464050"/>
              <a:gd name="connsiteX10" fmla="*/ 1673781 w 4459850"/>
              <a:gd name="connsiteY10" fmla="*/ 0 h 4464050"/>
              <a:gd name="connsiteX11" fmla="*/ 2175191 w 4459850"/>
              <a:gd name="connsiteY11" fmla="*/ 570628 h 4464050"/>
              <a:gd name="connsiteX12" fmla="*/ 2175191 w 4459850"/>
              <a:gd name="connsiteY12" fmla="*/ 3893320 h 4464050"/>
              <a:gd name="connsiteX13" fmla="*/ 1673690 w 4459850"/>
              <a:gd name="connsiteY13" fmla="*/ 4464050 h 4464050"/>
              <a:gd name="connsiteX14" fmla="*/ 1672385 w 4459850"/>
              <a:gd name="connsiteY14" fmla="*/ 4464050 h 4464050"/>
              <a:gd name="connsiteX15" fmla="*/ 1672385 w 4459850"/>
              <a:gd name="connsiteY15" fmla="*/ 0 h 4464050"/>
              <a:gd name="connsiteX16" fmla="*/ 923822 w 4459850"/>
              <a:gd name="connsiteY16" fmla="*/ 0 h 4464050"/>
              <a:gd name="connsiteX17" fmla="*/ 925575 w 4459850"/>
              <a:gd name="connsiteY17" fmla="*/ 0 h 4464050"/>
              <a:gd name="connsiteX18" fmla="*/ 1555348 w 4459850"/>
              <a:gd name="connsiteY18" fmla="*/ 570628 h 4464050"/>
              <a:gd name="connsiteX19" fmla="*/ 1555348 w 4459850"/>
              <a:gd name="connsiteY19" fmla="*/ 3893320 h 4464050"/>
              <a:gd name="connsiteX20" fmla="*/ 925461 w 4459850"/>
              <a:gd name="connsiteY20" fmla="*/ 4464050 h 4464050"/>
              <a:gd name="connsiteX21" fmla="*/ 923822 w 4459850"/>
              <a:gd name="connsiteY21" fmla="*/ 4464050 h 4464050"/>
              <a:gd name="connsiteX22" fmla="*/ 923822 w 4459850"/>
              <a:gd name="connsiteY22" fmla="*/ 0 h 4464050"/>
              <a:gd name="connsiteX23" fmla="*/ 0 w 4459850"/>
              <a:gd name="connsiteY23" fmla="*/ 0 h 4464050"/>
              <a:gd name="connsiteX24" fmla="*/ 2239 w 4459850"/>
              <a:gd name="connsiteY24" fmla="*/ 0 h 4464050"/>
              <a:gd name="connsiteX25" fmla="*/ 806883 w 4459850"/>
              <a:gd name="connsiteY25" fmla="*/ 570628 h 4464050"/>
              <a:gd name="connsiteX26" fmla="*/ 806883 w 4459850"/>
              <a:gd name="connsiteY26" fmla="*/ 3893419 h 4464050"/>
              <a:gd name="connsiteX27" fmla="*/ 2234 w 4459850"/>
              <a:gd name="connsiteY27" fmla="*/ 4464050 h 4464050"/>
              <a:gd name="connsiteX28" fmla="*/ 0 w 4459850"/>
              <a:gd name="connsiteY28" fmla="*/ 4464050 h 4464050"/>
              <a:gd name="connsiteX29" fmla="*/ 0 w 4459850"/>
              <a:gd name="connsiteY29" fmla="*/ 0 h 4464050"/>
              <a:gd name="connsiteX0" fmla="*/ 4459850 w 4459850"/>
              <a:gd name="connsiteY0" fmla="*/ 356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4459850 w 4459850"/>
              <a:gd name="connsiteY4" fmla="*/ 3569 h 4464050"/>
              <a:gd name="connsiteX5" fmla="*/ 2911872 w 4459850"/>
              <a:gd name="connsiteY5" fmla="*/ 570628 h 4464050"/>
              <a:gd name="connsiteX6" fmla="*/ 3543399 w 4459850"/>
              <a:gd name="connsiteY6" fmla="*/ 4464050 h 4464050"/>
              <a:gd name="connsiteX7" fmla="*/ 2911872 w 4459850"/>
              <a:gd name="connsiteY7" fmla="*/ 570628 h 4464050"/>
              <a:gd name="connsiteX8" fmla="*/ 1672385 w 4459850"/>
              <a:gd name="connsiteY8" fmla="*/ 0 h 4464050"/>
              <a:gd name="connsiteX9" fmla="*/ 1673781 w 4459850"/>
              <a:gd name="connsiteY9" fmla="*/ 0 h 4464050"/>
              <a:gd name="connsiteX10" fmla="*/ 2175191 w 4459850"/>
              <a:gd name="connsiteY10" fmla="*/ 570628 h 4464050"/>
              <a:gd name="connsiteX11" fmla="*/ 2175191 w 4459850"/>
              <a:gd name="connsiteY11" fmla="*/ 3893320 h 4464050"/>
              <a:gd name="connsiteX12" fmla="*/ 1673690 w 4459850"/>
              <a:gd name="connsiteY12" fmla="*/ 4464050 h 4464050"/>
              <a:gd name="connsiteX13" fmla="*/ 1672385 w 4459850"/>
              <a:gd name="connsiteY13" fmla="*/ 4464050 h 4464050"/>
              <a:gd name="connsiteX14" fmla="*/ 1672385 w 4459850"/>
              <a:gd name="connsiteY14" fmla="*/ 0 h 4464050"/>
              <a:gd name="connsiteX15" fmla="*/ 923822 w 4459850"/>
              <a:gd name="connsiteY15" fmla="*/ 0 h 4464050"/>
              <a:gd name="connsiteX16" fmla="*/ 925575 w 4459850"/>
              <a:gd name="connsiteY16" fmla="*/ 0 h 4464050"/>
              <a:gd name="connsiteX17" fmla="*/ 1555348 w 4459850"/>
              <a:gd name="connsiteY17" fmla="*/ 570628 h 4464050"/>
              <a:gd name="connsiteX18" fmla="*/ 1555348 w 4459850"/>
              <a:gd name="connsiteY18" fmla="*/ 3893320 h 4464050"/>
              <a:gd name="connsiteX19" fmla="*/ 925461 w 4459850"/>
              <a:gd name="connsiteY19" fmla="*/ 4464050 h 4464050"/>
              <a:gd name="connsiteX20" fmla="*/ 923822 w 4459850"/>
              <a:gd name="connsiteY20" fmla="*/ 4464050 h 4464050"/>
              <a:gd name="connsiteX21" fmla="*/ 923822 w 4459850"/>
              <a:gd name="connsiteY21" fmla="*/ 0 h 4464050"/>
              <a:gd name="connsiteX22" fmla="*/ 0 w 4459850"/>
              <a:gd name="connsiteY22" fmla="*/ 0 h 4464050"/>
              <a:gd name="connsiteX23" fmla="*/ 2239 w 4459850"/>
              <a:gd name="connsiteY23" fmla="*/ 0 h 4464050"/>
              <a:gd name="connsiteX24" fmla="*/ 806883 w 4459850"/>
              <a:gd name="connsiteY24" fmla="*/ 570628 h 4464050"/>
              <a:gd name="connsiteX25" fmla="*/ 806883 w 4459850"/>
              <a:gd name="connsiteY25" fmla="*/ 3893419 h 4464050"/>
              <a:gd name="connsiteX26" fmla="*/ 2234 w 4459850"/>
              <a:gd name="connsiteY26" fmla="*/ 4464050 h 4464050"/>
              <a:gd name="connsiteX27" fmla="*/ 0 w 4459850"/>
              <a:gd name="connsiteY27" fmla="*/ 4464050 h 4464050"/>
              <a:gd name="connsiteX28" fmla="*/ 0 w 4459850"/>
              <a:gd name="connsiteY28" fmla="*/ 0 h 4464050"/>
              <a:gd name="connsiteX0" fmla="*/ 3660238 w 4459850"/>
              <a:gd name="connsiteY0" fmla="*/ 570628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2911872 w 4459850"/>
              <a:gd name="connsiteY4" fmla="*/ 570628 h 4464050"/>
              <a:gd name="connsiteX5" fmla="*/ 3543399 w 4459850"/>
              <a:gd name="connsiteY5" fmla="*/ 4464050 h 4464050"/>
              <a:gd name="connsiteX6" fmla="*/ 2911872 w 4459850"/>
              <a:gd name="connsiteY6" fmla="*/ 570628 h 4464050"/>
              <a:gd name="connsiteX7" fmla="*/ 1672385 w 4459850"/>
              <a:gd name="connsiteY7" fmla="*/ 0 h 4464050"/>
              <a:gd name="connsiteX8" fmla="*/ 1673781 w 4459850"/>
              <a:gd name="connsiteY8" fmla="*/ 0 h 4464050"/>
              <a:gd name="connsiteX9" fmla="*/ 2175191 w 4459850"/>
              <a:gd name="connsiteY9" fmla="*/ 570628 h 4464050"/>
              <a:gd name="connsiteX10" fmla="*/ 2175191 w 4459850"/>
              <a:gd name="connsiteY10" fmla="*/ 3893320 h 4464050"/>
              <a:gd name="connsiteX11" fmla="*/ 1673690 w 4459850"/>
              <a:gd name="connsiteY11" fmla="*/ 4464050 h 4464050"/>
              <a:gd name="connsiteX12" fmla="*/ 1672385 w 4459850"/>
              <a:gd name="connsiteY12" fmla="*/ 4464050 h 4464050"/>
              <a:gd name="connsiteX13" fmla="*/ 1672385 w 4459850"/>
              <a:gd name="connsiteY13" fmla="*/ 0 h 4464050"/>
              <a:gd name="connsiteX14" fmla="*/ 923822 w 4459850"/>
              <a:gd name="connsiteY14" fmla="*/ 0 h 4464050"/>
              <a:gd name="connsiteX15" fmla="*/ 925575 w 4459850"/>
              <a:gd name="connsiteY15" fmla="*/ 0 h 4464050"/>
              <a:gd name="connsiteX16" fmla="*/ 1555348 w 4459850"/>
              <a:gd name="connsiteY16" fmla="*/ 570628 h 4464050"/>
              <a:gd name="connsiteX17" fmla="*/ 1555348 w 4459850"/>
              <a:gd name="connsiteY17" fmla="*/ 3893320 h 4464050"/>
              <a:gd name="connsiteX18" fmla="*/ 925461 w 4459850"/>
              <a:gd name="connsiteY18" fmla="*/ 4464050 h 4464050"/>
              <a:gd name="connsiteX19" fmla="*/ 923822 w 4459850"/>
              <a:gd name="connsiteY19" fmla="*/ 4464050 h 4464050"/>
              <a:gd name="connsiteX20" fmla="*/ 923822 w 4459850"/>
              <a:gd name="connsiteY20" fmla="*/ 0 h 4464050"/>
              <a:gd name="connsiteX21" fmla="*/ 0 w 4459850"/>
              <a:gd name="connsiteY21" fmla="*/ 0 h 4464050"/>
              <a:gd name="connsiteX22" fmla="*/ 2239 w 4459850"/>
              <a:gd name="connsiteY22" fmla="*/ 0 h 4464050"/>
              <a:gd name="connsiteX23" fmla="*/ 806883 w 4459850"/>
              <a:gd name="connsiteY23" fmla="*/ 570628 h 4464050"/>
              <a:gd name="connsiteX24" fmla="*/ 806883 w 4459850"/>
              <a:gd name="connsiteY24" fmla="*/ 3893419 h 4464050"/>
              <a:gd name="connsiteX25" fmla="*/ 2234 w 4459850"/>
              <a:gd name="connsiteY25" fmla="*/ 4464050 h 4464050"/>
              <a:gd name="connsiteX26" fmla="*/ 0 w 4459850"/>
              <a:gd name="connsiteY26" fmla="*/ 4464050 h 4464050"/>
              <a:gd name="connsiteX27" fmla="*/ 0 w 4459850"/>
              <a:gd name="connsiteY27" fmla="*/ 0 h 4464050"/>
              <a:gd name="connsiteX0" fmla="*/ 3660238 w 4459850"/>
              <a:gd name="connsiteY0" fmla="*/ 570628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3660238 w 4459850"/>
              <a:gd name="connsiteY3" fmla="*/ 570628 h 4464050"/>
              <a:gd name="connsiteX4" fmla="*/ 1672385 w 4459850"/>
              <a:gd name="connsiteY4" fmla="*/ 0 h 4464050"/>
              <a:gd name="connsiteX5" fmla="*/ 1673781 w 4459850"/>
              <a:gd name="connsiteY5" fmla="*/ 0 h 4464050"/>
              <a:gd name="connsiteX6" fmla="*/ 2175191 w 4459850"/>
              <a:gd name="connsiteY6" fmla="*/ 570628 h 4464050"/>
              <a:gd name="connsiteX7" fmla="*/ 2175191 w 4459850"/>
              <a:gd name="connsiteY7" fmla="*/ 3893320 h 4464050"/>
              <a:gd name="connsiteX8" fmla="*/ 1673690 w 4459850"/>
              <a:gd name="connsiteY8" fmla="*/ 4464050 h 4464050"/>
              <a:gd name="connsiteX9" fmla="*/ 1672385 w 4459850"/>
              <a:gd name="connsiteY9" fmla="*/ 4464050 h 4464050"/>
              <a:gd name="connsiteX10" fmla="*/ 1672385 w 4459850"/>
              <a:gd name="connsiteY10" fmla="*/ 0 h 4464050"/>
              <a:gd name="connsiteX11" fmla="*/ 923822 w 4459850"/>
              <a:gd name="connsiteY11" fmla="*/ 0 h 4464050"/>
              <a:gd name="connsiteX12" fmla="*/ 925575 w 4459850"/>
              <a:gd name="connsiteY12" fmla="*/ 0 h 4464050"/>
              <a:gd name="connsiteX13" fmla="*/ 1555348 w 4459850"/>
              <a:gd name="connsiteY13" fmla="*/ 570628 h 4464050"/>
              <a:gd name="connsiteX14" fmla="*/ 1555348 w 4459850"/>
              <a:gd name="connsiteY14" fmla="*/ 3893320 h 4464050"/>
              <a:gd name="connsiteX15" fmla="*/ 925461 w 4459850"/>
              <a:gd name="connsiteY15" fmla="*/ 4464050 h 4464050"/>
              <a:gd name="connsiteX16" fmla="*/ 923822 w 4459850"/>
              <a:gd name="connsiteY16" fmla="*/ 4464050 h 4464050"/>
              <a:gd name="connsiteX17" fmla="*/ 923822 w 4459850"/>
              <a:gd name="connsiteY17" fmla="*/ 0 h 4464050"/>
              <a:gd name="connsiteX18" fmla="*/ 0 w 4459850"/>
              <a:gd name="connsiteY18" fmla="*/ 0 h 4464050"/>
              <a:gd name="connsiteX19" fmla="*/ 2239 w 4459850"/>
              <a:gd name="connsiteY19" fmla="*/ 0 h 4464050"/>
              <a:gd name="connsiteX20" fmla="*/ 806883 w 4459850"/>
              <a:gd name="connsiteY20" fmla="*/ 570628 h 4464050"/>
              <a:gd name="connsiteX21" fmla="*/ 806883 w 4459850"/>
              <a:gd name="connsiteY21" fmla="*/ 3893419 h 4464050"/>
              <a:gd name="connsiteX22" fmla="*/ 2234 w 4459850"/>
              <a:gd name="connsiteY22" fmla="*/ 4464050 h 4464050"/>
              <a:gd name="connsiteX23" fmla="*/ 0 w 4459850"/>
              <a:gd name="connsiteY23" fmla="*/ 4464050 h 4464050"/>
              <a:gd name="connsiteX24" fmla="*/ 0 w 4459850"/>
              <a:gd name="connsiteY24" fmla="*/ 0 h 4464050"/>
              <a:gd name="connsiteX0" fmla="*/ 3660238 w 4459850"/>
              <a:gd name="connsiteY0" fmla="*/ 3893419 h 4464050"/>
              <a:gd name="connsiteX1" fmla="*/ 4459850 w 4459850"/>
              <a:gd name="connsiteY1" fmla="*/ 4460478 h 4464050"/>
              <a:gd name="connsiteX2" fmla="*/ 3660238 w 4459850"/>
              <a:gd name="connsiteY2" fmla="*/ 3893419 h 4464050"/>
              <a:gd name="connsiteX3" fmla="*/ 1672385 w 4459850"/>
              <a:gd name="connsiteY3" fmla="*/ 0 h 4464050"/>
              <a:gd name="connsiteX4" fmla="*/ 1673781 w 4459850"/>
              <a:gd name="connsiteY4" fmla="*/ 0 h 4464050"/>
              <a:gd name="connsiteX5" fmla="*/ 2175191 w 4459850"/>
              <a:gd name="connsiteY5" fmla="*/ 570628 h 4464050"/>
              <a:gd name="connsiteX6" fmla="*/ 2175191 w 4459850"/>
              <a:gd name="connsiteY6" fmla="*/ 3893320 h 4464050"/>
              <a:gd name="connsiteX7" fmla="*/ 1673690 w 4459850"/>
              <a:gd name="connsiteY7" fmla="*/ 4464050 h 4464050"/>
              <a:gd name="connsiteX8" fmla="*/ 1672385 w 4459850"/>
              <a:gd name="connsiteY8" fmla="*/ 4464050 h 4464050"/>
              <a:gd name="connsiteX9" fmla="*/ 1672385 w 4459850"/>
              <a:gd name="connsiteY9" fmla="*/ 0 h 4464050"/>
              <a:gd name="connsiteX10" fmla="*/ 923822 w 4459850"/>
              <a:gd name="connsiteY10" fmla="*/ 0 h 4464050"/>
              <a:gd name="connsiteX11" fmla="*/ 925575 w 4459850"/>
              <a:gd name="connsiteY11" fmla="*/ 0 h 4464050"/>
              <a:gd name="connsiteX12" fmla="*/ 1555348 w 4459850"/>
              <a:gd name="connsiteY12" fmla="*/ 570628 h 4464050"/>
              <a:gd name="connsiteX13" fmla="*/ 1555348 w 4459850"/>
              <a:gd name="connsiteY13" fmla="*/ 3893320 h 4464050"/>
              <a:gd name="connsiteX14" fmla="*/ 925461 w 4459850"/>
              <a:gd name="connsiteY14" fmla="*/ 4464050 h 4464050"/>
              <a:gd name="connsiteX15" fmla="*/ 923822 w 4459850"/>
              <a:gd name="connsiteY15" fmla="*/ 4464050 h 4464050"/>
              <a:gd name="connsiteX16" fmla="*/ 923822 w 4459850"/>
              <a:gd name="connsiteY16" fmla="*/ 0 h 4464050"/>
              <a:gd name="connsiteX17" fmla="*/ 0 w 4459850"/>
              <a:gd name="connsiteY17" fmla="*/ 0 h 4464050"/>
              <a:gd name="connsiteX18" fmla="*/ 2239 w 4459850"/>
              <a:gd name="connsiteY18" fmla="*/ 0 h 4464050"/>
              <a:gd name="connsiteX19" fmla="*/ 806883 w 4459850"/>
              <a:gd name="connsiteY19" fmla="*/ 570628 h 4464050"/>
              <a:gd name="connsiteX20" fmla="*/ 806883 w 4459850"/>
              <a:gd name="connsiteY20" fmla="*/ 3893419 h 4464050"/>
              <a:gd name="connsiteX21" fmla="*/ 2234 w 4459850"/>
              <a:gd name="connsiteY21" fmla="*/ 4464050 h 4464050"/>
              <a:gd name="connsiteX22" fmla="*/ 0 w 4459850"/>
              <a:gd name="connsiteY22" fmla="*/ 4464050 h 4464050"/>
              <a:gd name="connsiteX23" fmla="*/ 0 w 4459850"/>
              <a:gd name="connsiteY23" fmla="*/ 0 h 4464050"/>
              <a:gd name="connsiteX0" fmla="*/ 1672385 w 2175191"/>
              <a:gd name="connsiteY0" fmla="*/ 0 h 4464050"/>
              <a:gd name="connsiteX1" fmla="*/ 1673781 w 2175191"/>
              <a:gd name="connsiteY1" fmla="*/ 0 h 4464050"/>
              <a:gd name="connsiteX2" fmla="*/ 2175191 w 2175191"/>
              <a:gd name="connsiteY2" fmla="*/ 570628 h 4464050"/>
              <a:gd name="connsiteX3" fmla="*/ 2175191 w 2175191"/>
              <a:gd name="connsiteY3" fmla="*/ 3893320 h 4464050"/>
              <a:gd name="connsiteX4" fmla="*/ 1673690 w 2175191"/>
              <a:gd name="connsiteY4" fmla="*/ 4464050 h 4464050"/>
              <a:gd name="connsiteX5" fmla="*/ 1672385 w 2175191"/>
              <a:gd name="connsiteY5" fmla="*/ 4464050 h 4464050"/>
              <a:gd name="connsiteX6" fmla="*/ 1672385 w 2175191"/>
              <a:gd name="connsiteY6" fmla="*/ 0 h 4464050"/>
              <a:gd name="connsiteX7" fmla="*/ 923822 w 2175191"/>
              <a:gd name="connsiteY7" fmla="*/ 0 h 4464050"/>
              <a:gd name="connsiteX8" fmla="*/ 925575 w 2175191"/>
              <a:gd name="connsiteY8" fmla="*/ 0 h 4464050"/>
              <a:gd name="connsiteX9" fmla="*/ 1555348 w 2175191"/>
              <a:gd name="connsiteY9" fmla="*/ 570628 h 4464050"/>
              <a:gd name="connsiteX10" fmla="*/ 1555348 w 2175191"/>
              <a:gd name="connsiteY10" fmla="*/ 3893320 h 4464050"/>
              <a:gd name="connsiteX11" fmla="*/ 925461 w 2175191"/>
              <a:gd name="connsiteY11" fmla="*/ 4464050 h 4464050"/>
              <a:gd name="connsiteX12" fmla="*/ 923822 w 2175191"/>
              <a:gd name="connsiteY12" fmla="*/ 4464050 h 4464050"/>
              <a:gd name="connsiteX13" fmla="*/ 923822 w 2175191"/>
              <a:gd name="connsiteY13" fmla="*/ 0 h 4464050"/>
              <a:gd name="connsiteX14" fmla="*/ 0 w 2175191"/>
              <a:gd name="connsiteY14" fmla="*/ 0 h 4464050"/>
              <a:gd name="connsiteX15" fmla="*/ 2239 w 2175191"/>
              <a:gd name="connsiteY15" fmla="*/ 0 h 4464050"/>
              <a:gd name="connsiteX16" fmla="*/ 806883 w 2175191"/>
              <a:gd name="connsiteY16" fmla="*/ 570628 h 4464050"/>
              <a:gd name="connsiteX17" fmla="*/ 806883 w 2175191"/>
              <a:gd name="connsiteY17" fmla="*/ 3893419 h 4464050"/>
              <a:gd name="connsiteX18" fmla="*/ 2234 w 2175191"/>
              <a:gd name="connsiteY18" fmla="*/ 4464050 h 4464050"/>
              <a:gd name="connsiteX19" fmla="*/ 0 w 2175191"/>
              <a:gd name="connsiteY19" fmla="*/ 4464050 h 4464050"/>
              <a:gd name="connsiteX20" fmla="*/ 0 w 2175191"/>
              <a:gd name="connsiteY20" fmla="*/ 0 h 446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175191" h="4464050">
                <a:moveTo>
                  <a:pt x="1672385" y="0"/>
                </a:moveTo>
                <a:lnTo>
                  <a:pt x="1673781" y="0"/>
                </a:lnTo>
                <a:lnTo>
                  <a:pt x="2175191" y="570628"/>
                </a:lnTo>
                <a:lnTo>
                  <a:pt x="2175191" y="3893320"/>
                </a:lnTo>
                <a:lnTo>
                  <a:pt x="1673690" y="4464050"/>
                </a:lnTo>
                <a:lnTo>
                  <a:pt x="1672385" y="4464050"/>
                </a:lnTo>
                <a:lnTo>
                  <a:pt x="1672385" y="0"/>
                </a:lnTo>
                <a:close/>
                <a:moveTo>
                  <a:pt x="923822" y="0"/>
                </a:moveTo>
                <a:lnTo>
                  <a:pt x="925575" y="0"/>
                </a:lnTo>
                <a:lnTo>
                  <a:pt x="1555348" y="570628"/>
                </a:lnTo>
                <a:lnTo>
                  <a:pt x="1555348" y="3893320"/>
                </a:lnTo>
                <a:lnTo>
                  <a:pt x="925461" y="4464050"/>
                </a:lnTo>
                <a:lnTo>
                  <a:pt x="923822" y="4464050"/>
                </a:lnTo>
                <a:lnTo>
                  <a:pt x="923822" y="0"/>
                </a:lnTo>
                <a:close/>
                <a:moveTo>
                  <a:pt x="0" y="0"/>
                </a:moveTo>
                <a:lnTo>
                  <a:pt x="2239" y="0"/>
                </a:lnTo>
                <a:lnTo>
                  <a:pt x="806883" y="570628"/>
                </a:lnTo>
                <a:lnTo>
                  <a:pt x="806883" y="3893419"/>
                </a:lnTo>
                <a:lnTo>
                  <a:pt x="2234" y="4464050"/>
                </a:lnTo>
                <a:lnTo>
                  <a:pt x="0" y="446405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algn="ctr"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icon to insert picture</a:t>
            </a: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D7EBD8C5-104A-B100-D7E9-563B58A89C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801" y="3718131"/>
            <a:ext cx="4045514" cy="49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100">
                <a:solidFill>
                  <a:schemeClr val="tx2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</p:spTree>
    <p:extLst>
      <p:ext uri="{BB962C8B-B14F-4D97-AF65-F5344CB8AC3E}">
        <p14:creationId xmlns:p14="http://schemas.microsoft.com/office/powerpoint/2010/main" val="3632094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4">
          <p15:clr>
            <a:srgbClr val="F26B43"/>
          </p15:clr>
        </p15:guide>
        <p15:guide id="2" orient="horz" pos="518">
          <p15:clr>
            <a:srgbClr val="547EBF"/>
          </p15:clr>
        </p15:guide>
        <p15:guide id="3" orient="horz" pos="270">
          <p15:clr>
            <a:srgbClr val="547EBF"/>
          </p15:clr>
        </p15:guide>
        <p15:guide id="4" pos="272">
          <p15:clr>
            <a:srgbClr val="547EBF"/>
          </p15:clr>
        </p15:guide>
        <p15:guide id="5" orient="horz" pos="2822">
          <p15:clr>
            <a:srgbClr val="F26B43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9CF60C-F237-4C35-B5B9-DCAC15891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9DBEF-F615-45A1-AA51-C34CD01BC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3A0FA-AB68-49F8-A8DA-E9F3A2F1B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F4F1C2-2D04-4080-9FD1-F04C6A852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86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88000" indent="-288000">
              <a:defRPr lang="en-GB" dirty="0"/>
            </a:lvl1pPr>
          </a:lstStyle>
          <a:p>
            <a:pPr marL="285750" lvl="0" indent="-28575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11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576263" y="835026"/>
            <a:ext cx="7991475" cy="3897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FE40DE-7E7D-4146-AB2D-5551E7E74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770B-7A94-4844-AD38-CF8FB308000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74F79-D68A-45F4-B9C7-F1CCDF9519A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6A03-20E1-4E11-AF69-2080BD58C1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8832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9138993" cy="797661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4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tx1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Click to edit title</a:t>
            </a:r>
            <a:br>
              <a:rPr lang="en-US"/>
            </a:br>
            <a:r>
              <a:rPr lang="en-US"/>
              <a:t>max over 2 lin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4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US"/>
              <a:t>Sub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5944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abel Cover -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933D8557-708A-63F8-E3F0-46300F55EE9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481746" y="411163"/>
            <a:ext cx="3230454" cy="3889376"/>
          </a:xfrm>
          <a:custGeom>
            <a:avLst/>
            <a:gdLst>
              <a:gd name="connsiteX0" fmla="*/ 1287193 w 3289788"/>
              <a:gd name="connsiteY0" fmla="*/ 0 h 3960812"/>
              <a:gd name="connsiteX1" fmla="*/ 3289788 w 3289788"/>
              <a:gd name="connsiteY1" fmla="*/ 0 h 3960812"/>
              <a:gd name="connsiteX2" fmla="*/ 3289788 w 3289788"/>
              <a:gd name="connsiteY2" fmla="*/ 2670127 h 3960812"/>
              <a:gd name="connsiteX3" fmla="*/ 3032351 w 3289788"/>
              <a:gd name="connsiteY3" fmla="*/ 2670127 h 3960812"/>
              <a:gd name="connsiteX4" fmla="*/ 3032351 w 3289788"/>
              <a:gd name="connsiteY4" fmla="*/ 2928264 h 3960812"/>
              <a:gd name="connsiteX5" fmla="*/ 2774912 w 3289788"/>
              <a:gd name="connsiteY5" fmla="*/ 2928264 h 3960812"/>
              <a:gd name="connsiteX6" fmla="*/ 2774912 w 3289788"/>
              <a:gd name="connsiteY6" fmla="*/ 3186401 h 3960812"/>
              <a:gd name="connsiteX7" fmla="*/ 2517473 w 3289788"/>
              <a:gd name="connsiteY7" fmla="*/ 3186401 h 3960812"/>
              <a:gd name="connsiteX8" fmla="*/ 2517473 w 3289788"/>
              <a:gd name="connsiteY8" fmla="*/ 3444538 h 3960812"/>
              <a:gd name="connsiteX9" fmla="*/ 2260034 w 3289788"/>
              <a:gd name="connsiteY9" fmla="*/ 3444538 h 3960812"/>
              <a:gd name="connsiteX10" fmla="*/ 2260034 w 3289788"/>
              <a:gd name="connsiteY10" fmla="*/ 3702675 h 3960812"/>
              <a:gd name="connsiteX11" fmla="*/ 2002595 w 3289788"/>
              <a:gd name="connsiteY11" fmla="*/ 3702675 h 3960812"/>
              <a:gd name="connsiteX12" fmla="*/ 2002595 w 3289788"/>
              <a:gd name="connsiteY12" fmla="*/ 3960812 h 3960812"/>
              <a:gd name="connsiteX13" fmla="*/ 0 w 3289788"/>
              <a:gd name="connsiteY13" fmla="*/ 3960812 h 3960812"/>
              <a:gd name="connsiteX14" fmla="*/ 0 w 3289788"/>
              <a:gd name="connsiteY14" fmla="*/ 1290685 h 3960812"/>
              <a:gd name="connsiteX15" fmla="*/ 257439 w 3289788"/>
              <a:gd name="connsiteY15" fmla="*/ 1290685 h 3960812"/>
              <a:gd name="connsiteX16" fmla="*/ 257439 w 3289788"/>
              <a:gd name="connsiteY16" fmla="*/ 1032548 h 3960812"/>
              <a:gd name="connsiteX17" fmla="*/ 514878 w 3289788"/>
              <a:gd name="connsiteY17" fmla="*/ 1032548 h 3960812"/>
              <a:gd name="connsiteX18" fmla="*/ 514878 w 3289788"/>
              <a:gd name="connsiteY18" fmla="*/ 774411 h 3960812"/>
              <a:gd name="connsiteX19" fmla="*/ 772317 w 3289788"/>
              <a:gd name="connsiteY19" fmla="*/ 774411 h 3960812"/>
              <a:gd name="connsiteX20" fmla="*/ 772317 w 3289788"/>
              <a:gd name="connsiteY20" fmla="*/ 516274 h 3960812"/>
              <a:gd name="connsiteX21" fmla="*/ 1029756 w 3289788"/>
              <a:gd name="connsiteY21" fmla="*/ 516274 h 3960812"/>
              <a:gd name="connsiteX22" fmla="*/ 1029756 w 3289788"/>
              <a:gd name="connsiteY22" fmla="*/ 258137 h 3960812"/>
              <a:gd name="connsiteX23" fmla="*/ 1287193 w 3289788"/>
              <a:gd name="connsiteY23" fmla="*/ 258137 h 3960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289788" h="3960812">
                <a:moveTo>
                  <a:pt x="1287193" y="0"/>
                </a:moveTo>
                <a:lnTo>
                  <a:pt x="3289788" y="0"/>
                </a:lnTo>
                <a:lnTo>
                  <a:pt x="3289788" y="2670127"/>
                </a:lnTo>
                <a:lnTo>
                  <a:pt x="3032351" y="2670127"/>
                </a:lnTo>
                <a:lnTo>
                  <a:pt x="3032351" y="2928264"/>
                </a:lnTo>
                <a:lnTo>
                  <a:pt x="2774912" y="2928264"/>
                </a:lnTo>
                <a:lnTo>
                  <a:pt x="2774912" y="3186401"/>
                </a:lnTo>
                <a:lnTo>
                  <a:pt x="2517473" y="3186401"/>
                </a:lnTo>
                <a:lnTo>
                  <a:pt x="2517473" y="3444538"/>
                </a:lnTo>
                <a:lnTo>
                  <a:pt x="2260034" y="3444538"/>
                </a:lnTo>
                <a:lnTo>
                  <a:pt x="2260034" y="3702675"/>
                </a:lnTo>
                <a:lnTo>
                  <a:pt x="2002595" y="3702675"/>
                </a:lnTo>
                <a:lnTo>
                  <a:pt x="2002595" y="3960812"/>
                </a:lnTo>
                <a:lnTo>
                  <a:pt x="0" y="3960812"/>
                </a:lnTo>
                <a:lnTo>
                  <a:pt x="0" y="1290685"/>
                </a:lnTo>
                <a:lnTo>
                  <a:pt x="257439" y="1290685"/>
                </a:lnTo>
                <a:lnTo>
                  <a:pt x="257439" y="1032548"/>
                </a:lnTo>
                <a:lnTo>
                  <a:pt x="514878" y="1032548"/>
                </a:lnTo>
                <a:lnTo>
                  <a:pt x="514878" y="774411"/>
                </a:lnTo>
                <a:lnTo>
                  <a:pt x="772317" y="774411"/>
                </a:lnTo>
                <a:lnTo>
                  <a:pt x="772317" y="516274"/>
                </a:lnTo>
                <a:lnTo>
                  <a:pt x="1029756" y="516274"/>
                </a:lnTo>
                <a:lnTo>
                  <a:pt x="1029756" y="258137"/>
                </a:lnTo>
                <a:lnTo>
                  <a:pt x="1287193" y="25813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Insert pictur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4045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4045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B5D9AD25-48D2-8663-9649-78908323C9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4975" y="4483099"/>
            <a:ext cx="1425722" cy="469901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358931E8-9625-77F8-7BBF-076FE66C8CC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CA9AE916-B687-C4D7-9FD0-5893E1BB13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801" y="3718131"/>
            <a:ext cx="4045514" cy="49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100">
                <a:solidFill>
                  <a:schemeClr val="tx2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</p:spTree>
    <p:extLst>
      <p:ext uri="{BB962C8B-B14F-4D97-AF65-F5344CB8AC3E}">
        <p14:creationId xmlns:p14="http://schemas.microsoft.com/office/powerpoint/2010/main" val="1902954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4">
          <p15:clr>
            <a:srgbClr val="F26B43"/>
          </p15:clr>
        </p15:guide>
        <p15:guide id="2" orient="horz" pos="518">
          <p15:clr>
            <a:srgbClr val="547EBF"/>
          </p15:clr>
        </p15:guide>
        <p15:guide id="3" orient="horz" pos="270">
          <p15:clr>
            <a:srgbClr val="547EBF"/>
          </p15:clr>
        </p15:guide>
        <p15:guide id="4" pos="272">
          <p15:clr>
            <a:srgbClr val="547EBF"/>
          </p15:clr>
        </p15:guide>
        <p15:guide id="5" orient="horz" pos="2822">
          <p15:clr>
            <a:srgbClr val="F26B43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Label Cover -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2324A817-98EB-6995-6A8D-96A40048B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7587" y="3233268"/>
            <a:ext cx="3918513" cy="432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Subtitle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C31F0-9941-E455-C485-E3C8D9E669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587" y="1058863"/>
            <a:ext cx="3918513" cy="203132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presentation title</a:t>
            </a:r>
            <a:endParaRPr lang="en-US"/>
          </a:p>
        </p:txBody>
      </p:sp>
      <p:sp>
        <p:nvSpPr>
          <p:cNvPr id="2" name="Picture Placeholder 48">
            <a:extLst>
              <a:ext uri="{FF2B5EF4-FFF2-40B4-BE49-F238E27FC236}">
                <a16:creationId xmlns:a16="http://schemas.microsoft.com/office/drawing/2014/main" id="{A7551421-354E-1441-AEFF-FA5F95FCD9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935426" y="626385"/>
            <a:ext cx="3770985" cy="3709078"/>
          </a:xfrm>
          <a:custGeom>
            <a:avLst/>
            <a:gdLst>
              <a:gd name="connsiteX0" fmla="*/ 446456 w 3478814"/>
              <a:gd name="connsiteY0" fmla="*/ 2633052 h 3421704"/>
              <a:gd name="connsiteX1" fmla="*/ 3033202 w 3478814"/>
              <a:gd name="connsiteY1" fmla="*/ 2633052 h 3421704"/>
              <a:gd name="connsiteX2" fmla="*/ 3478814 w 3478814"/>
              <a:gd name="connsiteY2" fmla="*/ 3421704 h 3421704"/>
              <a:gd name="connsiteX3" fmla="*/ 0 w 3478814"/>
              <a:gd name="connsiteY3" fmla="*/ 3421704 h 3421704"/>
              <a:gd name="connsiteX4" fmla="*/ 446456 w 3478814"/>
              <a:gd name="connsiteY4" fmla="*/ 1755087 h 3421704"/>
              <a:gd name="connsiteX5" fmla="*/ 3033202 w 3478814"/>
              <a:gd name="connsiteY5" fmla="*/ 1755087 h 3421704"/>
              <a:gd name="connsiteX6" fmla="*/ 3478814 w 3478814"/>
              <a:gd name="connsiteY6" fmla="*/ 2543739 h 3421704"/>
              <a:gd name="connsiteX7" fmla="*/ 0 w 3478814"/>
              <a:gd name="connsiteY7" fmla="*/ 2543739 h 3421704"/>
              <a:gd name="connsiteX8" fmla="*/ 446456 w 3478814"/>
              <a:gd name="connsiteY8" fmla="*/ 877965 h 3421704"/>
              <a:gd name="connsiteX9" fmla="*/ 3033202 w 3478814"/>
              <a:gd name="connsiteY9" fmla="*/ 877965 h 3421704"/>
              <a:gd name="connsiteX10" fmla="*/ 3478814 w 3478814"/>
              <a:gd name="connsiteY10" fmla="*/ 1666617 h 3421704"/>
              <a:gd name="connsiteX11" fmla="*/ 0 w 3478814"/>
              <a:gd name="connsiteY11" fmla="*/ 1666617 h 3421704"/>
              <a:gd name="connsiteX12" fmla="*/ 446456 w 3478814"/>
              <a:gd name="connsiteY12" fmla="*/ 0 h 3421704"/>
              <a:gd name="connsiteX13" fmla="*/ 3033202 w 3478814"/>
              <a:gd name="connsiteY13" fmla="*/ 0 h 3421704"/>
              <a:gd name="connsiteX14" fmla="*/ 3478814 w 3478814"/>
              <a:gd name="connsiteY14" fmla="*/ 788652 h 3421704"/>
              <a:gd name="connsiteX15" fmla="*/ 0 w 3478814"/>
              <a:gd name="connsiteY15" fmla="*/ 788652 h 3421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78814" h="3421704">
                <a:moveTo>
                  <a:pt x="446456" y="2633052"/>
                </a:moveTo>
                <a:lnTo>
                  <a:pt x="3033202" y="2633052"/>
                </a:lnTo>
                <a:lnTo>
                  <a:pt x="3478814" y="3421704"/>
                </a:lnTo>
                <a:lnTo>
                  <a:pt x="0" y="3421704"/>
                </a:lnTo>
                <a:close/>
                <a:moveTo>
                  <a:pt x="446456" y="1755087"/>
                </a:moveTo>
                <a:lnTo>
                  <a:pt x="3033202" y="1755087"/>
                </a:lnTo>
                <a:lnTo>
                  <a:pt x="3478814" y="2543739"/>
                </a:lnTo>
                <a:lnTo>
                  <a:pt x="0" y="2543739"/>
                </a:lnTo>
                <a:close/>
                <a:moveTo>
                  <a:pt x="446456" y="877965"/>
                </a:moveTo>
                <a:lnTo>
                  <a:pt x="3033202" y="877965"/>
                </a:lnTo>
                <a:lnTo>
                  <a:pt x="3478814" y="1666617"/>
                </a:lnTo>
                <a:lnTo>
                  <a:pt x="0" y="1666617"/>
                </a:lnTo>
                <a:close/>
                <a:moveTo>
                  <a:pt x="446456" y="0"/>
                </a:moveTo>
                <a:lnTo>
                  <a:pt x="3033202" y="0"/>
                </a:lnTo>
                <a:lnTo>
                  <a:pt x="3478814" y="788652"/>
                </a:lnTo>
                <a:lnTo>
                  <a:pt x="0" y="78865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algn="ctr">
              <a:defRPr sz="900"/>
            </a:lvl1pPr>
          </a:lstStyle>
          <a:p>
            <a:r>
              <a:rPr lang="en-US"/>
              <a:t>Click icon to insert picture 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ED9150D-1613-F146-E32A-0CB05393DF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6150" y="4605725"/>
            <a:ext cx="2820000" cy="180000"/>
          </a:xfrm>
          <a:prstGeom prst="rect">
            <a:avLst/>
          </a:prstGeom>
        </p:spPr>
      </p:pic>
      <p:pic>
        <p:nvPicPr>
          <p:cNvPr id="4" name="Graphic 25">
            <a:extLst>
              <a:ext uri="{FF2B5EF4-FFF2-40B4-BE49-F238E27FC236}">
                <a16:creationId xmlns:a16="http://schemas.microsoft.com/office/drawing/2014/main" id="{B2D1A320-0696-ECEC-2D41-63A6520A515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4975" y="4483099"/>
            <a:ext cx="1425722" cy="469901"/>
          </a:xfrm>
          <a:prstGeom prst="rect">
            <a:avLst/>
          </a:prstGeom>
        </p:spPr>
      </p:pic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CC16C05C-893E-49DE-9457-EBC52B719B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801" y="3718131"/>
            <a:ext cx="4045514" cy="49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100">
                <a:solidFill>
                  <a:schemeClr val="tx2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</p:spTree>
    <p:extLst>
      <p:ext uri="{BB962C8B-B14F-4D97-AF65-F5344CB8AC3E}">
        <p14:creationId xmlns:p14="http://schemas.microsoft.com/office/powerpoint/2010/main" val="3013304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4">
          <p15:clr>
            <a:srgbClr val="F26B43"/>
          </p15:clr>
        </p15:guide>
        <p15:guide id="3" orient="horz" pos="270">
          <p15:clr>
            <a:srgbClr val="547EBF"/>
          </p15:clr>
        </p15:guide>
        <p15:guide id="4" pos="272">
          <p15:clr>
            <a:srgbClr val="547EBF"/>
          </p15:clr>
        </p15:guide>
        <p15:guide id="5" orient="horz" pos="518">
          <p15:clr>
            <a:srgbClr val="547EBF"/>
          </p15:clr>
        </p15:guide>
        <p15:guide id="6" orient="horz" pos="2822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50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slideLayout" Target="../slideLayouts/slideLayout70.xml"/><Relationship Id="rId39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65.xml"/><Relationship Id="rId34" Type="http://schemas.openxmlformats.org/officeDocument/2006/relationships/slideLayout" Target="../slideLayouts/slideLayout78.xml"/><Relationship Id="rId42" Type="http://schemas.openxmlformats.org/officeDocument/2006/relationships/slideLayout" Target="../slideLayouts/slideLayout86.xml"/><Relationship Id="rId47" Type="http://schemas.openxmlformats.org/officeDocument/2006/relationships/slideLayout" Target="../slideLayouts/slideLayout91.xml"/><Relationship Id="rId50" Type="http://schemas.openxmlformats.org/officeDocument/2006/relationships/slideLayout" Target="../slideLayouts/slideLayout94.xml"/><Relationship Id="rId55" Type="http://schemas.openxmlformats.org/officeDocument/2006/relationships/tags" Target="../tags/tag2.xml"/><Relationship Id="rId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55.xml"/><Relationship Id="rId24" Type="http://schemas.openxmlformats.org/officeDocument/2006/relationships/slideLayout" Target="../slideLayouts/slideLayout68.xml"/><Relationship Id="rId32" Type="http://schemas.openxmlformats.org/officeDocument/2006/relationships/slideLayout" Target="../slideLayouts/slideLayout76.xml"/><Relationship Id="rId37" Type="http://schemas.openxmlformats.org/officeDocument/2006/relationships/slideLayout" Target="../slideLayouts/slideLayout81.xml"/><Relationship Id="rId40" Type="http://schemas.openxmlformats.org/officeDocument/2006/relationships/slideLayout" Target="../slideLayouts/slideLayout84.xml"/><Relationship Id="rId45" Type="http://schemas.openxmlformats.org/officeDocument/2006/relationships/slideLayout" Target="../slideLayouts/slideLayout89.xml"/><Relationship Id="rId53" Type="http://schemas.openxmlformats.org/officeDocument/2006/relationships/slideLayout" Target="../slideLayouts/slideLayout97.xml"/><Relationship Id="rId58" Type="http://schemas.openxmlformats.org/officeDocument/2006/relationships/image" Target="../media/image2.png"/><Relationship Id="rId5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slideLayout" Target="../slideLayouts/slideLayout71.xml"/><Relationship Id="rId30" Type="http://schemas.openxmlformats.org/officeDocument/2006/relationships/slideLayout" Target="../slideLayouts/slideLayout74.xml"/><Relationship Id="rId35" Type="http://schemas.openxmlformats.org/officeDocument/2006/relationships/slideLayout" Target="../slideLayouts/slideLayout79.xml"/><Relationship Id="rId43" Type="http://schemas.openxmlformats.org/officeDocument/2006/relationships/slideLayout" Target="../slideLayouts/slideLayout87.xml"/><Relationship Id="rId48" Type="http://schemas.openxmlformats.org/officeDocument/2006/relationships/slideLayout" Target="../slideLayouts/slideLayout92.xml"/><Relationship Id="rId56" Type="http://schemas.openxmlformats.org/officeDocument/2006/relationships/oleObject" Target="../embeddings/oleObject2.bin"/><Relationship Id="rId8" Type="http://schemas.openxmlformats.org/officeDocument/2006/relationships/slideLayout" Target="../slideLayouts/slideLayout52.xml"/><Relationship Id="rId51" Type="http://schemas.openxmlformats.org/officeDocument/2006/relationships/slideLayout" Target="../slideLayouts/slideLayout95.xml"/><Relationship Id="rId3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slideLayout" Target="../slideLayouts/slideLayout69.xml"/><Relationship Id="rId33" Type="http://schemas.openxmlformats.org/officeDocument/2006/relationships/slideLayout" Target="../slideLayouts/slideLayout77.xml"/><Relationship Id="rId38" Type="http://schemas.openxmlformats.org/officeDocument/2006/relationships/slideLayout" Target="../slideLayouts/slideLayout82.xml"/><Relationship Id="rId46" Type="http://schemas.openxmlformats.org/officeDocument/2006/relationships/slideLayout" Target="../slideLayouts/slideLayout90.xml"/><Relationship Id="rId59" Type="http://schemas.openxmlformats.org/officeDocument/2006/relationships/image" Target="../media/image3.svg"/><Relationship Id="rId20" Type="http://schemas.openxmlformats.org/officeDocument/2006/relationships/slideLayout" Target="../slideLayouts/slideLayout64.xml"/><Relationship Id="rId41" Type="http://schemas.openxmlformats.org/officeDocument/2006/relationships/slideLayout" Target="../slideLayouts/slideLayout85.xml"/><Relationship Id="rId54" Type="http://schemas.openxmlformats.org/officeDocument/2006/relationships/theme" Target="../theme/theme2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28" Type="http://schemas.openxmlformats.org/officeDocument/2006/relationships/slideLayout" Target="../slideLayouts/slideLayout72.xml"/><Relationship Id="rId36" Type="http://schemas.openxmlformats.org/officeDocument/2006/relationships/slideLayout" Target="../slideLayouts/slideLayout80.xml"/><Relationship Id="rId49" Type="http://schemas.openxmlformats.org/officeDocument/2006/relationships/slideLayout" Target="../slideLayouts/slideLayout93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75.xml"/><Relationship Id="rId44" Type="http://schemas.openxmlformats.org/officeDocument/2006/relationships/slideLayout" Target="../slideLayouts/slideLayout88.xml"/><Relationship Id="rId52" Type="http://schemas.openxmlformats.org/officeDocument/2006/relationships/slideLayout" Target="../slideLayouts/slideLayout9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26" Type="http://schemas.openxmlformats.org/officeDocument/2006/relationships/slideLayout" Target="../slideLayouts/slideLayout123.xml"/><Relationship Id="rId39" Type="http://schemas.openxmlformats.org/officeDocument/2006/relationships/slideLayout" Target="../slideLayouts/slideLayout136.xml"/><Relationship Id="rId21" Type="http://schemas.openxmlformats.org/officeDocument/2006/relationships/slideLayout" Target="../slideLayouts/slideLayout118.xml"/><Relationship Id="rId34" Type="http://schemas.openxmlformats.org/officeDocument/2006/relationships/slideLayout" Target="../slideLayouts/slideLayout131.xml"/><Relationship Id="rId42" Type="http://schemas.openxmlformats.org/officeDocument/2006/relationships/slideLayout" Target="../slideLayouts/slideLayout139.xml"/><Relationship Id="rId47" Type="http://schemas.openxmlformats.org/officeDocument/2006/relationships/slideLayout" Target="../slideLayouts/slideLayout144.xml"/><Relationship Id="rId50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9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08.xml"/><Relationship Id="rId24" Type="http://schemas.openxmlformats.org/officeDocument/2006/relationships/slideLayout" Target="../slideLayouts/slideLayout121.xml"/><Relationship Id="rId32" Type="http://schemas.openxmlformats.org/officeDocument/2006/relationships/slideLayout" Target="../slideLayouts/slideLayout129.xml"/><Relationship Id="rId37" Type="http://schemas.openxmlformats.org/officeDocument/2006/relationships/slideLayout" Target="../slideLayouts/slideLayout134.xml"/><Relationship Id="rId40" Type="http://schemas.openxmlformats.org/officeDocument/2006/relationships/slideLayout" Target="../slideLayouts/slideLayout137.xml"/><Relationship Id="rId45" Type="http://schemas.openxmlformats.org/officeDocument/2006/relationships/slideLayout" Target="../slideLayouts/slideLayout142.xml"/><Relationship Id="rId53" Type="http://schemas.openxmlformats.org/officeDocument/2006/relationships/image" Target="../media/image3.svg"/><Relationship Id="rId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107.xml"/><Relationship Id="rId19" Type="http://schemas.openxmlformats.org/officeDocument/2006/relationships/slideLayout" Target="../slideLayouts/slideLayout116.xml"/><Relationship Id="rId31" Type="http://schemas.openxmlformats.org/officeDocument/2006/relationships/slideLayout" Target="../slideLayouts/slideLayout128.xml"/><Relationship Id="rId44" Type="http://schemas.openxmlformats.org/officeDocument/2006/relationships/slideLayout" Target="../slideLayouts/slideLayout141.xml"/><Relationship Id="rId52" Type="http://schemas.openxmlformats.org/officeDocument/2006/relationships/image" Target="../media/image2.png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9.xml"/><Relationship Id="rId27" Type="http://schemas.openxmlformats.org/officeDocument/2006/relationships/slideLayout" Target="../slideLayouts/slideLayout124.xml"/><Relationship Id="rId30" Type="http://schemas.openxmlformats.org/officeDocument/2006/relationships/slideLayout" Target="../slideLayouts/slideLayout127.xml"/><Relationship Id="rId35" Type="http://schemas.openxmlformats.org/officeDocument/2006/relationships/slideLayout" Target="../slideLayouts/slideLayout132.xml"/><Relationship Id="rId43" Type="http://schemas.openxmlformats.org/officeDocument/2006/relationships/slideLayout" Target="../slideLayouts/slideLayout140.xml"/><Relationship Id="rId48" Type="http://schemas.openxmlformats.org/officeDocument/2006/relationships/slideLayout" Target="../slideLayouts/slideLayout145.xml"/><Relationship Id="rId8" Type="http://schemas.openxmlformats.org/officeDocument/2006/relationships/slideLayout" Target="../slideLayouts/slideLayout105.xml"/><Relationship Id="rId51" Type="http://schemas.openxmlformats.org/officeDocument/2006/relationships/theme" Target="../theme/theme3.xml"/><Relationship Id="rId3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slideLayout" Target="../slideLayouts/slideLayout122.xml"/><Relationship Id="rId33" Type="http://schemas.openxmlformats.org/officeDocument/2006/relationships/slideLayout" Target="../slideLayouts/slideLayout130.xml"/><Relationship Id="rId38" Type="http://schemas.openxmlformats.org/officeDocument/2006/relationships/slideLayout" Target="../slideLayouts/slideLayout135.xml"/><Relationship Id="rId46" Type="http://schemas.openxmlformats.org/officeDocument/2006/relationships/slideLayout" Target="../slideLayouts/slideLayout143.xml"/><Relationship Id="rId20" Type="http://schemas.openxmlformats.org/officeDocument/2006/relationships/slideLayout" Target="../slideLayouts/slideLayout117.xml"/><Relationship Id="rId41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slideLayout" Target="../slideLayouts/slideLayout125.xml"/><Relationship Id="rId36" Type="http://schemas.openxmlformats.org/officeDocument/2006/relationships/slideLayout" Target="../slideLayouts/slideLayout133.xml"/><Relationship Id="rId49" Type="http://schemas.openxmlformats.org/officeDocument/2006/relationships/slideLayout" Target="../slideLayouts/slideLayout146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0.xml"/><Relationship Id="rId18" Type="http://schemas.openxmlformats.org/officeDocument/2006/relationships/slideLayout" Target="../slideLayouts/slideLayout165.xml"/><Relationship Id="rId26" Type="http://schemas.openxmlformats.org/officeDocument/2006/relationships/slideLayout" Target="../slideLayouts/slideLayout173.xml"/><Relationship Id="rId39" Type="http://schemas.openxmlformats.org/officeDocument/2006/relationships/slideLayout" Target="../slideLayouts/slideLayout186.xml"/><Relationship Id="rId21" Type="http://schemas.openxmlformats.org/officeDocument/2006/relationships/slideLayout" Target="../slideLayouts/slideLayout168.xml"/><Relationship Id="rId34" Type="http://schemas.openxmlformats.org/officeDocument/2006/relationships/slideLayout" Target="../slideLayouts/slideLayout181.xml"/><Relationship Id="rId42" Type="http://schemas.openxmlformats.org/officeDocument/2006/relationships/slideLayout" Target="../slideLayouts/slideLayout189.xml"/><Relationship Id="rId47" Type="http://schemas.openxmlformats.org/officeDocument/2006/relationships/slideLayout" Target="../slideLayouts/slideLayout194.xml"/><Relationship Id="rId50" Type="http://schemas.openxmlformats.org/officeDocument/2006/relationships/slideLayout" Target="../slideLayouts/slideLayout197.xml"/><Relationship Id="rId7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49.xml"/><Relationship Id="rId16" Type="http://schemas.openxmlformats.org/officeDocument/2006/relationships/slideLayout" Target="../slideLayouts/slideLayout163.xml"/><Relationship Id="rId29" Type="http://schemas.openxmlformats.org/officeDocument/2006/relationships/slideLayout" Target="../slideLayouts/slideLayout176.xml"/><Relationship Id="rId11" Type="http://schemas.openxmlformats.org/officeDocument/2006/relationships/slideLayout" Target="../slideLayouts/slideLayout158.xml"/><Relationship Id="rId24" Type="http://schemas.openxmlformats.org/officeDocument/2006/relationships/slideLayout" Target="../slideLayouts/slideLayout171.xml"/><Relationship Id="rId32" Type="http://schemas.openxmlformats.org/officeDocument/2006/relationships/slideLayout" Target="../slideLayouts/slideLayout179.xml"/><Relationship Id="rId37" Type="http://schemas.openxmlformats.org/officeDocument/2006/relationships/slideLayout" Target="../slideLayouts/slideLayout184.xml"/><Relationship Id="rId40" Type="http://schemas.openxmlformats.org/officeDocument/2006/relationships/slideLayout" Target="../slideLayouts/slideLayout187.xml"/><Relationship Id="rId45" Type="http://schemas.openxmlformats.org/officeDocument/2006/relationships/slideLayout" Target="../slideLayouts/slideLayout192.xml"/><Relationship Id="rId53" Type="http://schemas.openxmlformats.org/officeDocument/2006/relationships/image" Target="../media/image35.svg"/><Relationship Id="rId5" Type="http://schemas.openxmlformats.org/officeDocument/2006/relationships/slideLayout" Target="../slideLayouts/slideLayout152.xml"/><Relationship Id="rId10" Type="http://schemas.openxmlformats.org/officeDocument/2006/relationships/slideLayout" Target="../slideLayouts/slideLayout157.xml"/><Relationship Id="rId19" Type="http://schemas.openxmlformats.org/officeDocument/2006/relationships/slideLayout" Target="../slideLayouts/slideLayout166.xml"/><Relationship Id="rId31" Type="http://schemas.openxmlformats.org/officeDocument/2006/relationships/slideLayout" Target="../slideLayouts/slideLayout178.xml"/><Relationship Id="rId44" Type="http://schemas.openxmlformats.org/officeDocument/2006/relationships/slideLayout" Target="../slideLayouts/slideLayout191.xml"/><Relationship Id="rId52" Type="http://schemas.openxmlformats.org/officeDocument/2006/relationships/image" Target="../media/image34.png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Relationship Id="rId14" Type="http://schemas.openxmlformats.org/officeDocument/2006/relationships/slideLayout" Target="../slideLayouts/slideLayout161.xml"/><Relationship Id="rId22" Type="http://schemas.openxmlformats.org/officeDocument/2006/relationships/slideLayout" Target="../slideLayouts/slideLayout169.xml"/><Relationship Id="rId27" Type="http://schemas.openxmlformats.org/officeDocument/2006/relationships/slideLayout" Target="../slideLayouts/slideLayout174.xml"/><Relationship Id="rId30" Type="http://schemas.openxmlformats.org/officeDocument/2006/relationships/slideLayout" Target="../slideLayouts/slideLayout177.xml"/><Relationship Id="rId35" Type="http://schemas.openxmlformats.org/officeDocument/2006/relationships/slideLayout" Target="../slideLayouts/slideLayout182.xml"/><Relationship Id="rId43" Type="http://schemas.openxmlformats.org/officeDocument/2006/relationships/slideLayout" Target="../slideLayouts/slideLayout190.xml"/><Relationship Id="rId48" Type="http://schemas.openxmlformats.org/officeDocument/2006/relationships/slideLayout" Target="../slideLayouts/slideLayout195.xml"/><Relationship Id="rId8" Type="http://schemas.openxmlformats.org/officeDocument/2006/relationships/slideLayout" Target="../slideLayouts/slideLayout155.xml"/><Relationship Id="rId51" Type="http://schemas.openxmlformats.org/officeDocument/2006/relationships/theme" Target="../theme/theme4.xml"/><Relationship Id="rId3" Type="http://schemas.openxmlformats.org/officeDocument/2006/relationships/slideLayout" Target="../slideLayouts/slideLayout150.xml"/><Relationship Id="rId12" Type="http://schemas.openxmlformats.org/officeDocument/2006/relationships/slideLayout" Target="../slideLayouts/slideLayout159.xml"/><Relationship Id="rId17" Type="http://schemas.openxmlformats.org/officeDocument/2006/relationships/slideLayout" Target="../slideLayouts/slideLayout164.xml"/><Relationship Id="rId25" Type="http://schemas.openxmlformats.org/officeDocument/2006/relationships/slideLayout" Target="../slideLayouts/slideLayout172.xml"/><Relationship Id="rId33" Type="http://schemas.openxmlformats.org/officeDocument/2006/relationships/slideLayout" Target="../slideLayouts/slideLayout180.xml"/><Relationship Id="rId38" Type="http://schemas.openxmlformats.org/officeDocument/2006/relationships/slideLayout" Target="../slideLayouts/slideLayout185.xml"/><Relationship Id="rId46" Type="http://schemas.openxmlformats.org/officeDocument/2006/relationships/slideLayout" Target="../slideLayouts/slideLayout193.xml"/><Relationship Id="rId20" Type="http://schemas.openxmlformats.org/officeDocument/2006/relationships/slideLayout" Target="../slideLayouts/slideLayout167.xml"/><Relationship Id="rId41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5" Type="http://schemas.openxmlformats.org/officeDocument/2006/relationships/slideLayout" Target="../slideLayouts/slideLayout162.xml"/><Relationship Id="rId23" Type="http://schemas.openxmlformats.org/officeDocument/2006/relationships/slideLayout" Target="../slideLayouts/slideLayout170.xml"/><Relationship Id="rId28" Type="http://schemas.openxmlformats.org/officeDocument/2006/relationships/slideLayout" Target="../slideLayouts/slideLayout175.xml"/><Relationship Id="rId36" Type="http://schemas.openxmlformats.org/officeDocument/2006/relationships/slideLayout" Target="../slideLayouts/slideLayout183.xml"/><Relationship Id="rId49" Type="http://schemas.openxmlformats.org/officeDocument/2006/relationships/slideLayout" Target="../slideLayouts/slideLayout196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0.xml"/><Relationship Id="rId18" Type="http://schemas.openxmlformats.org/officeDocument/2006/relationships/slideLayout" Target="../slideLayouts/slideLayout215.xml"/><Relationship Id="rId26" Type="http://schemas.openxmlformats.org/officeDocument/2006/relationships/slideLayout" Target="../slideLayouts/slideLayout223.xml"/><Relationship Id="rId39" Type="http://schemas.openxmlformats.org/officeDocument/2006/relationships/slideLayout" Target="../slideLayouts/slideLayout236.xml"/><Relationship Id="rId21" Type="http://schemas.openxmlformats.org/officeDocument/2006/relationships/slideLayout" Target="../slideLayouts/slideLayout218.xml"/><Relationship Id="rId34" Type="http://schemas.openxmlformats.org/officeDocument/2006/relationships/slideLayout" Target="../slideLayouts/slideLayout231.xml"/><Relationship Id="rId42" Type="http://schemas.openxmlformats.org/officeDocument/2006/relationships/slideLayout" Target="../slideLayouts/slideLayout239.xml"/><Relationship Id="rId47" Type="http://schemas.openxmlformats.org/officeDocument/2006/relationships/slideLayout" Target="../slideLayouts/slideLayout244.xml"/><Relationship Id="rId50" Type="http://schemas.openxmlformats.org/officeDocument/2006/relationships/slideLayout" Target="../slideLayouts/slideLayout247.xml"/><Relationship Id="rId55" Type="http://schemas.openxmlformats.org/officeDocument/2006/relationships/theme" Target="../theme/theme5.xml"/><Relationship Id="rId7" Type="http://schemas.openxmlformats.org/officeDocument/2006/relationships/slideLayout" Target="../slideLayouts/slideLayout204.xml"/><Relationship Id="rId2" Type="http://schemas.openxmlformats.org/officeDocument/2006/relationships/slideLayout" Target="../slideLayouts/slideLayout199.xml"/><Relationship Id="rId16" Type="http://schemas.openxmlformats.org/officeDocument/2006/relationships/slideLayout" Target="../slideLayouts/slideLayout213.xml"/><Relationship Id="rId29" Type="http://schemas.openxmlformats.org/officeDocument/2006/relationships/slideLayout" Target="../slideLayouts/slideLayout226.xml"/><Relationship Id="rId11" Type="http://schemas.openxmlformats.org/officeDocument/2006/relationships/slideLayout" Target="../slideLayouts/slideLayout208.xml"/><Relationship Id="rId24" Type="http://schemas.openxmlformats.org/officeDocument/2006/relationships/slideLayout" Target="../slideLayouts/slideLayout221.xml"/><Relationship Id="rId32" Type="http://schemas.openxmlformats.org/officeDocument/2006/relationships/slideLayout" Target="../slideLayouts/slideLayout229.xml"/><Relationship Id="rId37" Type="http://schemas.openxmlformats.org/officeDocument/2006/relationships/slideLayout" Target="../slideLayouts/slideLayout234.xml"/><Relationship Id="rId40" Type="http://schemas.openxmlformats.org/officeDocument/2006/relationships/slideLayout" Target="../slideLayouts/slideLayout237.xml"/><Relationship Id="rId45" Type="http://schemas.openxmlformats.org/officeDocument/2006/relationships/slideLayout" Target="../slideLayouts/slideLayout242.xml"/><Relationship Id="rId53" Type="http://schemas.openxmlformats.org/officeDocument/2006/relationships/slideLayout" Target="../slideLayouts/slideLayout250.xml"/><Relationship Id="rId58" Type="http://schemas.openxmlformats.org/officeDocument/2006/relationships/image" Target="../media/image40.emf"/><Relationship Id="rId5" Type="http://schemas.openxmlformats.org/officeDocument/2006/relationships/slideLayout" Target="../slideLayouts/slideLayout202.xml"/><Relationship Id="rId19" Type="http://schemas.openxmlformats.org/officeDocument/2006/relationships/slideLayout" Target="../slideLayouts/slideLayout216.xml"/><Relationship Id="rId4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6.xml"/><Relationship Id="rId14" Type="http://schemas.openxmlformats.org/officeDocument/2006/relationships/slideLayout" Target="../slideLayouts/slideLayout211.xml"/><Relationship Id="rId22" Type="http://schemas.openxmlformats.org/officeDocument/2006/relationships/slideLayout" Target="../slideLayouts/slideLayout219.xml"/><Relationship Id="rId27" Type="http://schemas.openxmlformats.org/officeDocument/2006/relationships/slideLayout" Target="../slideLayouts/slideLayout224.xml"/><Relationship Id="rId30" Type="http://schemas.openxmlformats.org/officeDocument/2006/relationships/slideLayout" Target="../slideLayouts/slideLayout227.xml"/><Relationship Id="rId35" Type="http://schemas.openxmlformats.org/officeDocument/2006/relationships/slideLayout" Target="../slideLayouts/slideLayout232.xml"/><Relationship Id="rId43" Type="http://schemas.openxmlformats.org/officeDocument/2006/relationships/slideLayout" Target="../slideLayouts/slideLayout240.xml"/><Relationship Id="rId48" Type="http://schemas.openxmlformats.org/officeDocument/2006/relationships/slideLayout" Target="../slideLayouts/slideLayout245.xml"/><Relationship Id="rId56" Type="http://schemas.openxmlformats.org/officeDocument/2006/relationships/tags" Target="../tags/tag3.xml"/><Relationship Id="rId8" Type="http://schemas.openxmlformats.org/officeDocument/2006/relationships/slideLayout" Target="../slideLayouts/slideLayout205.xml"/><Relationship Id="rId51" Type="http://schemas.openxmlformats.org/officeDocument/2006/relationships/slideLayout" Target="../slideLayouts/slideLayout248.xml"/><Relationship Id="rId3" Type="http://schemas.openxmlformats.org/officeDocument/2006/relationships/slideLayout" Target="../slideLayouts/slideLayout200.xml"/><Relationship Id="rId12" Type="http://schemas.openxmlformats.org/officeDocument/2006/relationships/slideLayout" Target="../slideLayouts/slideLayout209.xml"/><Relationship Id="rId17" Type="http://schemas.openxmlformats.org/officeDocument/2006/relationships/slideLayout" Target="../slideLayouts/slideLayout214.xml"/><Relationship Id="rId25" Type="http://schemas.openxmlformats.org/officeDocument/2006/relationships/slideLayout" Target="../slideLayouts/slideLayout222.xml"/><Relationship Id="rId33" Type="http://schemas.openxmlformats.org/officeDocument/2006/relationships/slideLayout" Target="../slideLayouts/slideLayout230.xml"/><Relationship Id="rId38" Type="http://schemas.openxmlformats.org/officeDocument/2006/relationships/slideLayout" Target="../slideLayouts/slideLayout235.xml"/><Relationship Id="rId46" Type="http://schemas.openxmlformats.org/officeDocument/2006/relationships/slideLayout" Target="../slideLayouts/slideLayout243.xml"/><Relationship Id="rId59" Type="http://schemas.openxmlformats.org/officeDocument/2006/relationships/image" Target="../media/image34.png"/><Relationship Id="rId20" Type="http://schemas.openxmlformats.org/officeDocument/2006/relationships/slideLayout" Target="../slideLayouts/slideLayout217.xml"/><Relationship Id="rId41" Type="http://schemas.openxmlformats.org/officeDocument/2006/relationships/slideLayout" Target="../slideLayouts/slideLayout238.xml"/><Relationship Id="rId54" Type="http://schemas.openxmlformats.org/officeDocument/2006/relationships/slideLayout" Target="../slideLayouts/slideLayout251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5" Type="http://schemas.openxmlformats.org/officeDocument/2006/relationships/slideLayout" Target="../slideLayouts/slideLayout212.xml"/><Relationship Id="rId23" Type="http://schemas.openxmlformats.org/officeDocument/2006/relationships/slideLayout" Target="../slideLayouts/slideLayout220.xml"/><Relationship Id="rId28" Type="http://schemas.openxmlformats.org/officeDocument/2006/relationships/slideLayout" Target="../slideLayouts/slideLayout225.xml"/><Relationship Id="rId36" Type="http://schemas.openxmlformats.org/officeDocument/2006/relationships/slideLayout" Target="../slideLayouts/slideLayout233.xml"/><Relationship Id="rId49" Type="http://schemas.openxmlformats.org/officeDocument/2006/relationships/slideLayout" Target="../slideLayouts/slideLayout246.xml"/><Relationship Id="rId57" Type="http://schemas.openxmlformats.org/officeDocument/2006/relationships/oleObject" Target="../embeddings/oleObject3.bin"/><Relationship Id="rId10" Type="http://schemas.openxmlformats.org/officeDocument/2006/relationships/slideLayout" Target="../slideLayouts/slideLayout207.xml"/><Relationship Id="rId31" Type="http://schemas.openxmlformats.org/officeDocument/2006/relationships/slideLayout" Target="../slideLayouts/slideLayout228.xml"/><Relationship Id="rId44" Type="http://schemas.openxmlformats.org/officeDocument/2006/relationships/slideLayout" Target="../slideLayouts/slideLayout241.xml"/><Relationship Id="rId52" Type="http://schemas.openxmlformats.org/officeDocument/2006/relationships/slideLayout" Target="../slideLayouts/slideLayout249.xml"/><Relationship Id="rId60" Type="http://schemas.openxmlformats.org/officeDocument/2006/relationships/image" Target="../media/image35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EB6B5B3-CDCC-BF09-9194-F4BF2127E6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2815618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404" imgH="405" progId="TCLayout.ActiveDocument.1">
                  <p:embed/>
                </p:oleObj>
              </mc:Choice>
              <mc:Fallback>
                <p:oleObj name="think-cell Slide" r:id="rId47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B6B5B3-CDCC-BF09-9194-F4BF2127E6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9944CEF-76B5-56EB-7ADE-0DC62C4E7A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0" y="1239838"/>
            <a:ext cx="8280200" cy="3276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233C033-DB84-36C0-E907-142E65CE7B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28800" y="4728959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F8FF696-12EF-13B4-6F79-E4FA91DFCE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68713" y="4728959"/>
            <a:ext cx="1043487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50" name="Graphic 49">
            <a:extLst>
              <a:ext uri="{FF2B5EF4-FFF2-40B4-BE49-F238E27FC236}">
                <a16:creationId xmlns:a16="http://schemas.microsoft.com/office/drawing/2014/main" id="{7E590C8E-4F01-686A-4976-E397173E8037}"/>
              </a:ext>
            </a:extLst>
          </p:cNvPr>
          <p:cNvPicPr>
            <a:picLocks noChangeAspect="1"/>
          </p:cNvPicPr>
          <p:nvPr userDrawn="1"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431800" y="4717794"/>
            <a:ext cx="930309" cy="130331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EAE5BEC-04FF-B4F1-7EC5-7447584A6E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0088" y="4728191"/>
            <a:ext cx="4087812" cy="1095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itle Placeholder 13">
            <a:extLst>
              <a:ext uri="{FF2B5EF4-FFF2-40B4-BE49-F238E27FC236}">
                <a16:creationId xmlns:a16="http://schemas.microsoft.com/office/drawing/2014/main" id="{DC748132-9230-ADD0-A397-1DD97F67D3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976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44" r:id="rId2"/>
    <p:sldLayoutId id="2147483946" r:id="rId3"/>
    <p:sldLayoutId id="2147483948" r:id="rId4"/>
    <p:sldLayoutId id="2147483947" r:id="rId5"/>
    <p:sldLayoutId id="2147483958" r:id="rId6"/>
    <p:sldLayoutId id="2147483959" r:id="rId7"/>
    <p:sldLayoutId id="2147483960" r:id="rId8"/>
    <p:sldLayoutId id="2147483961" r:id="rId9"/>
    <p:sldLayoutId id="2147483962" r:id="rId10"/>
    <p:sldLayoutId id="2147483968" r:id="rId11"/>
    <p:sldLayoutId id="2147483963" r:id="rId12"/>
    <p:sldLayoutId id="2147483969" r:id="rId13"/>
    <p:sldLayoutId id="2147483964" r:id="rId14"/>
    <p:sldLayoutId id="2147483970" r:id="rId15"/>
    <p:sldLayoutId id="2147483730" r:id="rId16"/>
    <p:sldLayoutId id="2147483742" r:id="rId17"/>
    <p:sldLayoutId id="2147483731" r:id="rId18"/>
    <p:sldLayoutId id="2147483965" r:id="rId19"/>
    <p:sldLayoutId id="2147483736" r:id="rId20"/>
    <p:sldLayoutId id="2147483738" r:id="rId21"/>
    <p:sldLayoutId id="2147483949" r:id="rId22"/>
    <p:sldLayoutId id="2147483954" r:id="rId23"/>
    <p:sldLayoutId id="2147483955" r:id="rId24"/>
    <p:sldLayoutId id="2147483966" r:id="rId25"/>
    <p:sldLayoutId id="2147483967" r:id="rId26"/>
    <p:sldLayoutId id="2147483807" r:id="rId27"/>
    <p:sldLayoutId id="2147483808" r:id="rId28"/>
    <p:sldLayoutId id="2147483809" r:id="rId29"/>
    <p:sldLayoutId id="2147483810" r:id="rId30"/>
    <p:sldLayoutId id="2147483811" r:id="rId31"/>
    <p:sldLayoutId id="2147483812" r:id="rId32"/>
    <p:sldLayoutId id="2147483934" r:id="rId33"/>
    <p:sldLayoutId id="2147483951" r:id="rId34"/>
    <p:sldLayoutId id="2147483952" r:id="rId35"/>
    <p:sldLayoutId id="2147483953" r:id="rId36"/>
    <p:sldLayoutId id="2147483942" r:id="rId37"/>
    <p:sldLayoutId id="2147483941" r:id="rId38"/>
    <p:sldLayoutId id="2147483853" r:id="rId39"/>
    <p:sldLayoutId id="2147483854" r:id="rId40"/>
    <p:sldLayoutId id="2147483855" r:id="rId41"/>
    <p:sldLayoutId id="2147483956" r:id="rId42"/>
    <p:sldLayoutId id="2147483957" r:id="rId43"/>
    <p:sldLayoutId id="2147484194" r:id="rId44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216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System Font Regular"/>
        <a:buChar char="⁃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216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Courier New" panose="02070309020205020404" pitchFamily="49" charset="0"/>
        <a:buChar char="o"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Tx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5pPr>
      <a:lvl6pPr marL="216000" indent="-216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+mj-lt"/>
        <a:buAutoNum type="arabicPeriod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432000" indent="-216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+mj-lt"/>
        <a:buAutoNum type="arabicPeriod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648000" indent="-216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+mj-lt"/>
        <a:buAutoNum type="arabicPeriod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Clr>
          <a:schemeClr val="accent1"/>
        </a:buClr>
        <a:buFontTx/>
        <a:buNone/>
        <a:defRPr sz="1800" kern="1200">
          <a:solidFill>
            <a:schemeClr val="tx2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5488" userDrawn="1">
          <p15:clr>
            <a:srgbClr val="F26B43"/>
          </p15:clr>
        </p15:guide>
        <p15:guide id="7" pos="272" userDrawn="1">
          <p15:clr>
            <a:srgbClr val="F26B43"/>
          </p15:clr>
        </p15:guide>
        <p15:guide id="8" orient="horz" pos="2970" userDrawn="1">
          <p15:clr>
            <a:srgbClr val="F26B43"/>
          </p15:clr>
        </p15:guide>
        <p15:guide id="9" orient="horz" pos="270" userDrawn="1">
          <p15:clr>
            <a:srgbClr val="F26B43"/>
          </p15:clr>
        </p15:guide>
        <p15:guide id="11" pos="2936" userDrawn="1">
          <p15:clr>
            <a:srgbClr val="F26B43"/>
          </p15:clr>
        </p15:guide>
        <p15:guide id="13" pos="2824" userDrawn="1">
          <p15:clr>
            <a:srgbClr val="F26B43"/>
          </p15:clr>
        </p15:guide>
        <p15:guide id="14" pos="2041" userDrawn="1">
          <p15:clr>
            <a:srgbClr val="A4A3A4"/>
          </p15:clr>
        </p15:guide>
        <p15:guide id="15" pos="1160" userDrawn="1">
          <p15:clr>
            <a:srgbClr val="A4A3A4"/>
          </p15:clr>
        </p15:guide>
        <p15:guide id="16" pos="1043" userDrawn="1">
          <p15:clr>
            <a:srgbClr val="A4A3A4"/>
          </p15:clr>
        </p15:guide>
        <p15:guide id="17" pos="1927" userDrawn="1">
          <p15:clr>
            <a:srgbClr val="A4A3A4"/>
          </p15:clr>
        </p15:guide>
        <p15:guide id="18" pos="3708" userDrawn="1">
          <p15:clr>
            <a:srgbClr val="A4A3A4"/>
          </p15:clr>
        </p15:guide>
        <p15:guide id="19" pos="3822" userDrawn="1">
          <p15:clr>
            <a:srgbClr val="A4A3A4"/>
          </p15:clr>
        </p15:guide>
        <p15:guide id="20" pos="4710" userDrawn="1">
          <p15:clr>
            <a:srgbClr val="A4A3A4"/>
          </p15:clr>
        </p15:guide>
        <p15:guide id="21" pos="4596" userDrawn="1">
          <p15:clr>
            <a:srgbClr val="A4A3A4"/>
          </p15:clr>
        </p15:guide>
        <p15:guide id="22" orient="horz" pos="781" userDrawn="1">
          <p15:clr>
            <a:srgbClr val="F26B43"/>
          </p15:clr>
        </p15:guide>
        <p15:guide id="23" orient="horz" pos="66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C5572ED-2D54-2209-2E55-8837D593E5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3379051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6" imgW="404" imgH="405" progId="TCLayout.ActiveDocument.1">
                  <p:embed/>
                </p:oleObj>
              </mc:Choice>
              <mc:Fallback>
                <p:oleObj name="think-cell Slide" r:id="rId56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5572ED-2D54-2209-2E55-8837D593E5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9944CEF-76B5-56EB-7ADE-0DC62C4E7A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0" y="1239838"/>
            <a:ext cx="8280200" cy="3276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233C033-DB84-36C0-E907-142E65CE7B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28800" y="4728959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F8FF696-12EF-13B4-6F79-E4FA91DFCE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68713" y="4728959"/>
            <a:ext cx="1043487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50" name="Graphic 49">
            <a:extLst>
              <a:ext uri="{FF2B5EF4-FFF2-40B4-BE49-F238E27FC236}">
                <a16:creationId xmlns:a16="http://schemas.microsoft.com/office/drawing/2014/main" id="{7E590C8E-4F01-686A-4976-E397173E8037}"/>
              </a:ext>
            </a:extLst>
          </p:cNvPr>
          <p:cNvPicPr>
            <a:picLocks noChangeAspect="1"/>
          </p:cNvPicPr>
          <p:nvPr userDrawn="1"/>
        </p:nvPicPr>
        <p:blipFill>
          <a:blip r:embed="rId58">
            <a:extLs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431800" y="4717794"/>
            <a:ext cx="930309" cy="130331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EAE5BEC-04FF-B4F1-7EC5-7447584A6E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0088" y="4728191"/>
            <a:ext cx="4087812" cy="1095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itle Placeholder 13">
            <a:extLst>
              <a:ext uri="{FF2B5EF4-FFF2-40B4-BE49-F238E27FC236}">
                <a16:creationId xmlns:a16="http://schemas.microsoft.com/office/drawing/2014/main" id="{DC748132-9230-ADD0-A397-1DD97F67D3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87229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  <p:sldLayoutId id="2147483979" r:id="rId8"/>
    <p:sldLayoutId id="2147483980" r:id="rId9"/>
    <p:sldLayoutId id="2147483981" r:id="rId10"/>
    <p:sldLayoutId id="2147483982" r:id="rId11"/>
    <p:sldLayoutId id="2147483983" r:id="rId12"/>
    <p:sldLayoutId id="2147483984" r:id="rId13"/>
    <p:sldLayoutId id="2147483985" r:id="rId14"/>
    <p:sldLayoutId id="2147483986" r:id="rId15"/>
    <p:sldLayoutId id="2147483987" r:id="rId16"/>
    <p:sldLayoutId id="2147483988" r:id="rId17"/>
    <p:sldLayoutId id="2147483989" r:id="rId18"/>
    <p:sldLayoutId id="2147483990" r:id="rId19"/>
    <p:sldLayoutId id="2147483991" r:id="rId20"/>
    <p:sldLayoutId id="2147483992" r:id="rId21"/>
    <p:sldLayoutId id="2147483993" r:id="rId22"/>
    <p:sldLayoutId id="2147483994" r:id="rId23"/>
    <p:sldLayoutId id="2147483995" r:id="rId24"/>
    <p:sldLayoutId id="2147483996" r:id="rId25"/>
    <p:sldLayoutId id="2147483997" r:id="rId26"/>
    <p:sldLayoutId id="2147483998" r:id="rId27"/>
    <p:sldLayoutId id="2147483999" r:id="rId28"/>
    <p:sldLayoutId id="2147484000" r:id="rId29"/>
    <p:sldLayoutId id="2147484001" r:id="rId30"/>
    <p:sldLayoutId id="2147484002" r:id="rId31"/>
    <p:sldLayoutId id="2147484003" r:id="rId32"/>
    <p:sldLayoutId id="2147484004" r:id="rId33"/>
    <p:sldLayoutId id="2147484005" r:id="rId34"/>
    <p:sldLayoutId id="2147484006" r:id="rId35"/>
    <p:sldLayoutId id="2147484007" r:id="rId36"/>
    <p:sldLayoutId id="2147484008" r:id="rId37"/>
    <p:sldLayoutId id="2147484009" r:id="rId38"/>
    <p:sldLayoutId id="2147484010" r:id="rId39"/>
    <p:sldLayoutId id="2147484023" r:id="rId40"/>
    <p:sldLayoutId id="2147484024" r:id="rId41"/>
    <p:sldLayoutId id="2147484025" r:id="rId42"/>
    <p:sldLayoutId id="2147484017" r:id="rId43"/>
    <p:sldLayoutId id="2147484018" r:id="rId44"/>
    <p:sldLayoutId id="2147484019" r:id="rId45"/>
    <p:sldLayoutId id="2147484020" r:id="rId46"/>
    <p:sldLayoutId id="2147484021" r:id="rId47"/>
    <p:sldLayoutId id="2147484022" r:id="rId48"/>
    <p:sldLayoutId id="2147484080" r:id="rId49"/>
    <p:sldLayoutId id="2147484083" r:id="rId50"/>
    <p:sldLayoutId id="2147484084" r:id="rId51"/>
    <p:sldLayoutId id="2147484085" r:id="rId52"/>
    <p:sldLayoutId id="2147484086" r:id="rId53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216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System Font Regular"/>
        <a:buChar char="⁃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216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Courier New" panose="02070309020205020404" pitchFamily="49" charset="0"/>
        <a:buChar char="o"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Tx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5pPr>
      <a:lvl6pPr marL="216000" indent="-216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+mj-lt"/>
        <a:buAutoNum type="arabicPeriod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432000" indent="-216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+mj-lt"/>
        <a:buAutoNum type="arabicPeriod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648000" indent="-216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+mj-lt"/>
        <a:buAutoNum type="arabicPeriod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Clr>
          <a:schemeClr val="accent1"/>
        </a:buClr>
        <a:buFontTx/>
        <a:buNone/>
        <a:defRPr sz="1800" kern="1200">
          <a:solidFill>
            <a:schemeClr val="tx2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5488" userDrawn="1">
          <p15:clr>
            <a:srgbClr val="F26B43"/>
          </p15:clr>
        </p15:guide>
        <p15:guide id="7" pos="272" userDrawn="1">
          <p15:clr>
            <a:srgbClr val="F26B43"/>
          </p15:clr>
        </p15:guide>
        <p15:guide id="8" orient="horz" pos="2970" userDrawn="1">
          <p15:clr>
            <a:srgbClr val="F26B43"/>
          </p15:clr>
        </p15:guide>
        <p15:guide id="9" orient="horz" pos="270" userDrawn="1">
          <p15:clr>
            <a:srgbClr val="F26B43"/>
          </p15:clr>
        </p15:guide>
        <p15:guide id="11" pos="2936" userDrawn="1">
          <p15:clr>
            <a:srgbClr val="F26B43"/>
          </p15:clr>
        </p15:guide>
        <p15:guide id="13" pos="2824" userDrawn="1">
          <p15:clr>
            <a:srgbClr val="F26B43"/>
          </p15:clr>
        </p15:guide>
        <p15:guide id="14" pos="2041" userDrawn="1">
          <p15:clr>
            <a:srgbClr val="A4A3A4"/>
          </p15:clr>
        </p15:guide>
        <p15:guide id="15" pos="1160" userDrawn="1">
          <p15:clr>
            <a:srgbClr val="A4A3A4"/>
          </p15:clr>
        </p15:guide>
        <p15:guide id="16" pos="1043" userDrawn="1">
          <p15:clr>
            <a:srgbClr val="A4A3A4"/>
          </p15:clr>
        </p15:guide>
        <p15:guide id="17" pos="1927" userDrawn="1">
          <p15:clr>
            <a:srgbClr val="A4A3A4"/>
          </p15:clr>
        </p15:guide>
        <p15:guide id="18" pos="3708" userDrawn="1">
          <p15:clr>
            <a:srgbClr val="A4A3A4"/>
          </p15:clr>
        </p15:guide>
        <p15:guide id="19" pos="3822" userDrawn="1">
          <p15:clr>
            <a:srgbClr val="A4A3A4"/>
          </p15:clr>
        </p15:guide>
        <p15:guide id="20" pos="4710" userDrawn="1">
          <p15:clr>
            <a:srgbClr val="A4A3A4"/>
          </p15:clr>
        </p15:guide>
        <p15:guide id="21" pos="4596" userDrawn="1">
          <p15:clr>
            <a:srgbClr val="A4A3A4"/>
          </p15:clr>
        </p15:guide>
        <p15:guide id="22" orient="horz" pos="781" userDrawn="1">
          <p15:clr>
            <a:srgbClr val="F26B43"/>
          </p15:clr>
        </p15:guide>
        <p15:guide id="23" orient="horz" pos="66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9944CEF-76B5-56EB-7ADE-0DC62C4E7A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0" y="1239838"/>
            <a:ext cx="8280200" cy="3276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233C033-DB84-36C0-E907-142E65CE7B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28800" y="4728959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F8FF696-12EF-13B4-6F79-E4FA91DFCE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68713" y="4728959"/>
            <a:ext cx="1043487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4FA11F32-2EB9-412C-B470-1D0ABC8FCD5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50" name="Graphic 49">
            <a:extLst>
              <a:ext uri="{FF2B5EF4-FFF2-40B4-BE49-F238E27FC236}">
                <a16:creationId xmlns:a16="http://schemas.microsoft.com/office/drawing/2014/main" id="{7E590C8E-4F01-686A-4976-E397173E8037}"/>
              </a:ext>
            </a:extLst>
          </p:cNvPr>
          <p:cNvPicPr>
            <a:picLocks noChangeAspect="1"/>
          </p:cNvPicPr>
          <p:nvPr userDrawn="1"/>
        </p:nvPicPr>
        <p:blipFill>
          <a:blip r:embed="rId52"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431800" y="4717794"/>
            <a:ext cx="930309" cy="130331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EAE5BEC-04FF-B4F1-7EC5-7447584A6E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0088" y="4728191"/>
            <a:ext cx="4087812" cy="1095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itle Placeholder 13">
            <a:extLst>
              <a:ext uri="{FF2B5EF4-FFF2-40B4-BE49-F238E27FC236}">
                <a16:creationId xmlns:a16="http://schemas.microsoft.com/office/drawing/2014/main" id="{DC748132-9230-ADD0-A397-1DD97F67D3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28625"/>
            <a:ext cx="8280400" cy="6302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211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7" r:id="rId1"/>
    <p:sldLayoutId id="2147484028" r:id="rId2"/>
    <p:sldLayoutId id="2147484029" r:id="rId3"/>
    <p:sldLayoutId id="2147484030" r:id="rId4"/>
    <p:sldLayoutId id="2147484031" r:id="rId5"/>
    <p:sldLayoutId id="2147484032" r:id="rId6"/>
    <p:sldLayoutId id="2147484033" r:id="rId7"/>
    <p:sldLayoutId id="2147484034" r:id="rId8"/>
    <p:sldLayoutId id="2147484035" r:id="rId9"/>
    <p:sldLayoutId id="2147484036" r:id="rId10"/>
    <p:sldLayoutId id="2147484038" r:id="rId11"/>
    <p:sldLayoutId id="2147484039" r:id="rId12"/>
    <p:sldLayoutId id="2147484040" r:id="rId13"/>
    <p:sldLayoutId id="2147484041" r:id="rId14"/>
    <p:sldLayoutId id="2147484042" r:id="rId15"/>
    <p:sldLayoutId id="2147484043" r:id="rId16"/>
    <p:sldLayoutId id="2147484044" r:id="rId17"/>
    <p:sldLayoutId id="2147484045" r:id="rId18"/>
    <p:sldLayoutId id="2147484046" r:id="rId19"/>
    <p:sldLayoutId id="2147484047" r:id="rId20"/>
    <p:sldLayoutId id="2147484048" r:id="rId21"/>
    <p:sldLayoutId id="2147484049" r:id="rId22"/>
    <p:sldLayoutId id="2147484050" r:id="rId23"/>
    <p:sldLayoutId id="2147484051" r:id="rId24"/>
    <p:sldLayoutId id="2147484052" r:id="rId25"/>
    <p:sldLayoutId id="2147484053" r:id="rId26"/>
    <p:sldLayoutId id="2147484054" r:id="rId27"/>
    <p:sldLayoutId id="2147484055" r:id="rId28"/>
    <p:sldLayoutId id="2147484056" r:id="rId29"/>
    <p:sldLayoutId id="2147484057" r:id="rId30"/>
    <p:sldLayoutId id="2147484058" r:id="rId31"/>
    <p:sldLayoutId id="2147484059" r:id="rId32"/>
    <p:sldLayoutId id="2147484060" r:id="rId33"/>
    <p:sldLayoutId id="2147484061" r:id="rId34"/>
    <p:sldLayoutId id="2147484062" r:id="rId35"/>
    <p:sldLayoutId id="2147484063" r:id="rId36"/>
    <p:sldLayoutId id="2147484064" r:id="rId37"/>
    <p:sldLayoutId id="2147484065" r:id="rId38"/>
    <p:sldLayoutId id="2147484066" r:id="rId39"/>
    <p:sldLayoutId id="2147484067" r:id="rId40"/>
    <p:sldLayoutId id="2147484068" r:id="rId41"/>
    <p:sldLayoutId id="2147484069" r:id="rId42"/>
    <p:sldLayoutId id="2147484070" r:id="rId43"/>
    <p:sldLayoutId id="2147484071" r:id="rId44"/>
    <p:sldLayoutId id="2147484072" r:id="rId45"/>
    <p:sldLayoutId id="2147484073" r:id="rId46"/>
    <p:sldLayoutId id="2147484074" r:id="rId47"/>
    <p:sldLayoutId id="2147484075" r:id="rId48"/>
    <p:sldLayoutId id="2147484076" r:id="rId49"/>
    <p:sldLayoutId id="2147484077" r:id="rId50"/>
  </p:sldLayoutIdLst>
  <p:hf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216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System Font Regular"/>
        <a:buChar char="⁃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216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Courier New" panose="02070309020205020404" pitchFamily="49" charset="0"/>
        <a:buChar char="o"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Tx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5pPr>
      <a:lvl6pPr marL="216000" indent="-216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+mj-lt"/>
        <a:buAutoNum type="arabicPeriod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432000" indent="-216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+mj-lt"/>
        <a:buAutoNum type="arabicPeriod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648000" indent="-216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+mj-lt"/>
        <a:buAutoNum type="arabicPeriod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Clr>
          <a:schemeClr val="accent1"/>
        </a:buClr>
        <a:buFontTx/>
        <a:buNone/>
        <a:defRPr sz="1800" kern="1200">
          <a:solidFill>
            <a:schemeClr val="tx2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5488">
          <p15:clr>
            <a:srgbClr val="F26B43"/>
          </p15:clr>
        </p15:guide>
        <p15:guide id="7" pos="272">
          <p15:clr>
            <a:srgbClr val="F26B43"/>
          </p15:clr>
        </p15:guide>
        <p15:guide id="8" orient="horz" pos="2970">
          <p15:clr>
            <a:srgbClr val="F26B43"/>
          </p15:clr>
        </p15:guide>
        <p15:guide id="9" orient="horz" pos="270">
          <p15:clr>
            <a:srgbClr val="F26B43"/>
          </p15:clr>
        </p15:guide>
        <p15:guide id="11" pos="2936">
          <p15:clr>
            <a:srgbClr val="F26B43"/>
          </p15:clr>
        </p15:guide>
        <p15:guide id="13" pos="2824">
          <p15:clr>
            <a:srgbClr val="F26B43"/>
          </p15:clr>
        </p15:guide>
        <p15:guide id="14" pos="2041">
          <p15:clr>
            <a:srgbClr val="A4A3A4"/>
          </p15:clr>
        </p15:guide>
        <p15:guide id="15" pos="1160">
          <p15:clr>
            <a:srgbClr val="A4A3A4"/>
          </p15:clr>
        </p15:guide>
        <p15:guide id="16" pos="1043">
          <p15:clr>
            <a:srgbClr val="A4A3A4"/>
          </p15:clr>
        </p15:guide>
        <p15:guide id="17" pos="1927">
          <p15:clr>
            <a:srgbClr val="A4A3A4"/>
          </p15:clr>
        </p15:guide>
        <p15:guide id="18" pos="3708">
          <p15:clr>
            <a:srgbClr val="A4A3A4"/>
          </p15:clr>
        </p15:guide>
        <p15:guide id="19" pos="3822">
          <p15:clr>
            <a:srgbClr val="A4A3A4"/>
          </p15:clr>
        </p15:guide>
        <p15:guide id="20" pos="4710">
          <p15:clr>
            <a:srgbClr val="A4A3A4"/>
          </p15:clr>
        </p15:guide>
        <p15:guide id="21" pos="4596">
          <p15:clr>
            <a:srgbClr val="A4A3A4"/>
          </p15:clr>
        </p15:guide>
        <p15:guide id="22" orient="horz" pos="781">
          <p15:clr>
            <a:srgbClr val="F26B43"/>
          </p15:clr>
        </p15:guide>
        <p15:guide id="23" orient="horz" pos="66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928590-4084-6B40-8DED-B4F8C98BED1B}"/>
              </a:ext>
            </a:extLst>
          </p:cNvPr>
          <p:cNvPicPr>
            <a:picLocks noChangeAspect="1"/>
          </p:cNvPicPr>
          <p:nvPr userDrawn="1"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rcRect/>
          <a:stretch/>
        </p:blipFill>
        <p:spPr>
          <a:xfrm>
            <a:off x="8567737" y="198501"/>
            <a:ext cx="401839" cy="443408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73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  <p:sldLayoutId id="2147484094" r:id="rId7"/>
    <p:sldLayoutId id="2147484095" r:id="rId8"/>
    <p:sldLayoutId id="2147484096" r:id="rId9"/>
    <p:sldLayoutId id="2147484097" r:id="rId10"/>
    <p:sldLayoutId id="2147484098" r:id="rId11"/>
    <p:sldLayoutId id="2147484099" r:id="rId12"/>
    <p:sldLayoutId id="2147484100" r:id="rId13"/>
    <p:sldLayoutId id="2147484101" r:id="rId14"/>
    <p:sldLayoutId id="2147484102" r:id="rId15"/>
    <p:sldLayoutId id="2147484103" r:id="rId16"/>
    <p:sldLayoutId id="2147484104" r:id="rId17"/>
    <p:sldLayoutId id="2147484105" r:id="rId18"/>
    <p:sldLayoutId id="2147484106" r:id="rId19"/>
    <p:sldLayoutId id="2147484107" r:id="rId20"/>
    <p:sldLayoutId id="2147484108" r:id="rId21"/>
    <p:sldLayoutId id="2147484109" r:id="rId22"/>
    <p:sldLayoutId id="2147484110" r:id="rId23"/>
    <p:sldLayoutId id="2147484111" r:id="rId24"/>
    <p:sldLayoutId id="2147484112" r:id="rId25"/>
    <p:sldLayoutId id="2147484113" r:id="rId26"/>
    <p:sldLayoutId id="2147484114" r:id="rId27"/>
    <p:sldLayoutId id="2147484115" r:id="rId28"/>
    <p:sldLayoutId id="2147484116" r:id="rId29"/>
    <p:sldLayoutId id="2147484117" r:id="rId30"/>
    <p:sldLayoutId id="2147484118" r:id="rId31"/>
    <p:sldLayoutId id="2147484119" r:id="rId32"/>
    <p:sldLayoutId id="2147484120" r:id="rId33"/>
    <p:sldLayoutId id="2147484121" r:id="rId34"/>
    <p:sldLayoutId id="2147484122" r:id="rId35"/>
    <p:sldLayoutId id="2147484123" r:id="rId36"/>
    <p:sldLayoutId id="2147484124" r:id="rId37"/>
    <p:sldLayoutId id="2147484125" r:id="rId38"/>
    <p:sldLayoutId id="2147484126" r:id="rId39"/>
    <p:sldLayoutId id="2147484127" r:id="rId40"/>
    <p:sldLayoutId id="2147484128" r:id="rId41"/>
    <p:sldLayoutId id="2147484129" r:id="rId42"/>
    <p:sldLayoutId id="2147484130" r:id="rId43"/>
    <p:sldLayoutId id="2147484131" r:id="rId44"/>
    <p:sldLayoutId id="2147484132" r:id="rId45"/>
    <p:sldLayoutId id="2147484133" r:id="rId46"/>
    <p:sldLayoutId id="2147484134" r:id="rId47"/>
    <p:sldLayoutId id="2147484135" r:id="rId48"/>
    <p:sldLayoutId id="2147484136" r:id="rId49"/>
    <p:sldLayoutId id="2147484137" r:id="rId5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>
          <p15:clr>
            <a:srgbClr val="F26B43"/>
          </p15:clr>
        </p15:guide>
        <p15:guide id="9" orient="horz" pos="441">
          <p15:clr>
            <a:srgbClr val="F26B43"/>
          </p15:clr>
        </p15:guide>
        <p15:guide id="10" orient="horz" pos="123">
          <p15:clr>
            <a:srgbClr val="F26B43"/>
          </p15:clr>
        </p15:guide>
        <p15:guide id="11" orient="horz" pos="3003">
          <p15:clr>
            <a:srgbClr val="547EBF"/>
          </p15:clr>
        </p15:guide>
        <p15:guide id="12" pos="5647">
          <p15:clr>
            <a:srgbClr val="547EBF"/>
          </p15:clr>
        </p15:guide>
        <p15:guide id="13" orient="horz" pos="3185">
          <p15:clr>
            <a:srgbClr val="9FCC3B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4681B96-2298-16A4-45AC-68CB1DAECE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1847113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7" imgW="395" imgH="394" progId="TCLayout.ActiveDocument.1">
                  <p:embed/>
                </p:oleObj>
              </mc:Choice>
              <mc:Fallback>
                <p:oleObj name="think-cell Slide" r:id="rId57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681B96-2298-16A4-45AC-68CB1DAEC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928590-4084-6B40-8DED-B4F8C98BED1B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rcRect/>
          <a:stretch/>
        </p:blipFill>
        <p:spPr>
          <a:xfrm>
            <a:off x="8567737" y="198501"/>
            <a:ext cx="401839" cy="443408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971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0" r:id="rId1"/>
    <p:sldLayoutId id="2147484141" r:id="rId2"/>
    <p:sldLayoutId id="2147484142" r:id="rId3"/>
    <p:sldLayoutId id="2147484143" r:id="rId4"/>
    <p:sldLayoutId id="2147484144" r:id="rId5"/>
    <p:sldLayoutId id="2147484145" r:id="rId6"/>
    <p:sldLayoutId id="2147484146" r:id="rId7"/>
    <p:sldLayoutId id="2147484147" r:id="rId8"/>
    <p:sldLayoutId id="2147484148" r:id="rId9"/>
    <p:sldLayoutId id="2147484149" r:id="rId10"/>
    <p:sldLayoutId id="2147484150" r:id="rId11"/>
    <p:sldLayoutId id="2147484151" r:id="rId12"/>
    <p:sldLayoutId id="2147484152" r:id="rId13"/>
    <p:sldLayoutId id="2147484153" r:id="rId14"/>
    <p:sldLayoutId id="2147484154" r:id="rId15"/>
    <p:sldLayoutId id="2147484155" r:id="rId16"/>
    <p:sldLayoutId id="2147484156" r:id="rId17"/>
    <p:sldLayoutId id="2147484157" r:id="rId18"/>
    <p:sldLayoutId id="2147484158" r:id="rId19"/>
    <p:sldLayoutId id="2147484159" r:id="rId20"/>
    <p:sldLayoutId id="2147484160" r:id="rId21"/>
    <p:sldLayoutId id="2147484161" r:id="rId22"/>
    <p:sldLayoutId id="2147484162" r:id="rId23"/>
    <p:sldLayoutId id="2147484163" r:id="rId24"/>
    <p:sldLayoutId id="2147484164" r:id="rId25"/>
    <p:sldLayoutId id="2147484165" r:id="rId26"/>
    <p:sldLayoutId id="2147484166" r:id="rId27"/>
    <p:sldLayoutId id="2147484167" r:id="rId28"/>
    <p:sldLayoutId id="2147484168" r:id="rId29"/>
    <p:sldLayoutId id="2147484169" r:id="rId30"/>
    <p:sldLayoutId id="2147484170" r:id="rId31"/>
    <p:sldLayoutId id="2147484171" r:id="rId32"/>
    <p:sldLayoutId id="2147484172" r:id="rId33"/>
    <p:sldLayoutId id="2147484173" r:id="rId34"/>
    <p:sldLayoutId id="2147484174" r:id="rId35"/>
    <p:sldLayoutId id="2147484175" r:id="rId36"/>
    <p:sldLayoutId id="2147484176" r:id="rId37"/>
    <p:sldLayoutId id="2147484177" r:id="rId38"/>
    <p:sldLayoutId id="2147484178" r:id="rId39"/>
    <p:sldLayoutId id="2147484179" r:id="rId40"/>
    <p:sldLayoutId id="2147484180" r:id="rId41"/>
    <p:sldLayoutId id="2147484181" r:id="rId42"/>
    <p:sldLayoutId id="2147484182" r:id="rId43"/>
    <p:sldLayoutId id="2147484183" r:id="rId44"/>
    <p:sldLayoutId id="2147484184" r:id="rId45"/>
    <p:sldLayoutId id="2147484185" r:id="rId46"/>
    <p:sldLayoutId id="2147484186" r:id="rId47"/>
    <p:sldLayoutId id="2147484187" r:id="rId48"/>
    <p:sldLayoutId id="2147484188" r:id="rId49"/>
    <p:sldLayoutId id="2147484189" r:id="rId50"/>
    <p:sldLayoutId id="2147484190" r:id="rId51"/>
    <p:sldLayoutId id="2147484191" r:id="rId52"/>
    <p:sldLayoutId id="2147484192" r:id="rId53"/>
    <p:sldLayoutId id="2147484193" r:id="rId5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>
          <p15:clr>
            <a:srgbClr val="F26B43"/>
          </p15:clr>
        </p15:guide>
        <p15:guide id="9" orient="horz" pos="441">
          <p15:clr>
            <a:srgbClr val="F26B43"/>
          </p15:clr>
        </p15:guide>
        <p15:guide id="10" orient="horz" pos="123">
          <p15:clr>
            <a:srgbClr val="F26B43"/>
          </p15:clr>
        </p15:guide>
        <p15:guide id="11" orient="horz" pos="3003">
          <p15:clr>
            <a:srgbClr val="547EBF"/>
          </p15:clr>
        </p15:guide>
        <p15:guide id="12" pos="5647">
          <p15:clr>
            <a:srgbClr val="547EBF"/>
          </p15:clr>
        </p15:guide>
        <p15:guide id="13" orient="horz" pos="3185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jpeg"/><Relationship Id="rId7" Type="http://schemas.openxmlformats.org/officeDocument/2006/relationships/image" Target="../media/image4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jpeg"/><Relationship Id="rId5" Type="http://schemas.openxmlformats.org/officeDocument/2006/relationships/image" Target="../media/image45.jpeg"/><Relationship Id="rId4" Type="http://schemas.openxmlformats.org/officeDocument/2006/relationships/image" Target="../media/image44.jpeg"/><Relationship Id="rId9" Type="http://schemas.openxmlformats.org/officeDocument/2006/relationships/image" Target="../media/image49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slide" Target="slide3.xml"/><Relationship Id="rId1" Type="http://schemas.openxmlformats.org/officeDocument/2006/relationships/slideLayout" Target="../slideLayouts/slideLayout44.xml"/><Relationship Id="rId4" Type="http://schemas.openxmlformats.org/officeDocument/2006/relationships/slide" Target="slide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51.jpeg"/><Relationship Id="rId4" Type="http://schemas.openxmlformats.org/officeDocument/2006/relationships/hyperlink" Target="https://www.reaxys.com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5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59.sv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7" Type="http://schemas.openxmlformats.org/officeDocument/2006/relationships/image" Target="../media/image64.png"/><Relationship Id="rId2" Type="http://schemas.openxmlformats.org/officeDocument/2006/relationships/hyperlink" Target="https://www.reaxys.com/" TargetMode="Externa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59.sv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7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Placeholder 13">
            <a:extLst>
              <a:ext uri="{FF2B5EF4-FFF2-40B4-BE49-F238E27FC236}">
                <a16:creationId xmlns:a16="http://schemas.microsoft.com/office/drawing/2014/main" id="{4A92C125-454C-93FB-27F5-1A25E3DFA8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" t="13234" r="56354"/>
          <a:stretch/>
        </p:blipFill>
        <p:spPr>
          <a:xfrm>
            <a:off x="7214281" y="-1827"/>
            <a:ext cx="1929719" cy="2572959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</p:pic>
      <p:pic>
        <p:nvPicPr>
          <p:cNvPr id="19" name="Picture Placeholder 13">
            <a:extLst>
              <a:ext uri="{FF2B5EF4-FFF2-40B4-BE49-F238E27FC236}">
                <a16:creationId xmlns:a16="http://schemas.microsoft.com/office/drawing/2014/main" id="{17B65B2D-2ECA-CA3E-3D7D-393CA5269E5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9" r="33241"/>
          <a:stretch/>
        </p:blipFill>
        <p:spPr>
          <a:xfrm>
            <a:off x="6914382" y="318051"/>
            <a:ext cx="1929719" cy="2572959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7AD12A96-7703-36F4-3E80-1869282BAD6E}"/>
              </a:ext>
            </a:extLst>
          </p:cNvPr>
          <p:cNvSpPr/>
          <p:nvPr/>
        </p:nvSpPr>
        <p:spPr>
          <a:xfrm>
            <a:off x="6587083" y="637661"/>
            <a:ext cx="1942829" cy="2572958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lt1"/>
          </a:lnRef>
          <a:fillRef idx="1">
            <a:schemeClr val="lt1"/>
          </a:fillRef>
          <a:effectRef idx="0">
            <a:schemeClr val="lt1"/>
          </a:effectRef>
          <a:fontRef idx="minor">
            <a:schemeClr val="bg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Placeholder 15" descr="A view of the earth from space&#10;&#10;AI-generated content may be incorrect.">
            <a:extLst>
              <a:ext uri="{FF2B5EF4-FFF2-40B4-BE49-F238E27FC236}">
                <a16:creationId xmlns:a16="http://schemas.microsoft.com/office/drawing/2014/main" id="{1AD3B6E1-04B9-887A-791C-3A272D0F8C07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39" r="26639"/>
          <a:stretch/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0F80BF2-0E95-A32E-E9CA-43A6195AD43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 defTabSz="2330884">
              <a:defRPr/>
            </a:pPr>
            <a:r>
              <a:rPr lang="en-US" sz="4000" dirty="0"/>
              <a:t>Named Access</a:t>
            </a:r>
            <a:endParaRPr lang="en-GB" sz="4000" dirty="0">
              <a:solidFill>
                <a:srgbClr val="FFFFFF"/>
              </a:solidFill>
              <a:latin typeface="Elsevier Display Light" panose="02000000000000000000" pitchFamily="50" charset="0"/>
            </a:endParaRPr>
          </a:p>
        </p:txBody>
      </p:sp>
      <p:pic>
        <p:nvPicPr>
          <p:cNvPr id="14" name="Picture Placeholder 13" descr="A close-up of a canyon&#10;&#10;AI-generated content may be incorrect.">
            <a:extLst>
              <a:ext uri="{FF2B5EF4-FFF2-40B4-BE49-F238E27FC236}">
                <a16:creationId xmlns:a16="http://schemas.microsoft.com/office/drawing/2014/main" id="{2EC1BB5A-75A3-75A2-73A7-B6A87AC7CCD7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" r="50000"/>
          <a:stretch/>
        </p:blipFill>
        <p:spPr>
          <a:xfrm>
            <a:off x="7213600" y="971550"/>
            <a:ext cx="1930400" cy="2571750"/>
          </a:xfrm>
        </p:spPr>
      </p:pic>
      <p:pic>
        <p:nvPicPr>
          <p:cNvPr id="10" name="Picture Placeholder 7" descr="A person and person in lab coats looking at a tablet&#10;&#10;AI-generated content may be incorrect.">
            <a:extLst>
              <a:ext uri="{FF2B5EF4-FFF2-40B4-BE49-F238E27FC236}">
                <a16:creationId xmlns:a16="http://schemas.microsoft.com/office/drawing/2014/main" id="{36BEF820-B4DE-E756-E418-64AD35EC89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057" r="16951"/>
          <a:stretch/>
        </p:blipFill>
        <p:spPr>
          <a:xfrm>
            <a:off x="5622224" y="1634781"/>
            <a:ext cx="1929719" cy="2572959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51EBF26F-A054-E43C-1EB0-EAFFF24D328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37587" y="421661"/>
            <a:ext cx="1099636" cy="432000"/>
          </a:xfrm>
          <a:prstGeom prst="rect">
            <a:avLst/>
          </a:prstGeom>
        </p:spPr>
      </p:pic>
      <p:sp>
        <p:nvSpPr>
          <p:cNvPr id="4" name="Subtitle 1">
            <a:extLst>
              <a:ext uri="{FF2B5EF4-FFF2-40B4-BE49-F238E27FC236}">
                <a16:creationId xmlns:a16="http://schemas.microsoft.com/office/drawing/2014/main" id="{911D8BD8-0236-6B4F-3CA6-F7DB113E5418}"/>
              </a:ext>
            </a:extLst>
          </p:cNvPr>
          <p:cNvSpPr txBox="1">
            <a:spLocks/>
          </p:cNvSpPr>
          <p:nvPr/>
        </p:nvSpPr>
        <p:spPr>
          <a:xfrm>
            <a:off x="437587" y="3579770"/>
            <a:ext cx="4870448" cy="6279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None/>
              <a:defRPr sz="13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Courier New" panose="02070309020205020404" pitchFamily="49" charset="0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Tx/>
              <a:buNone/>
              <a:defRPr sz="12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6888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57768A6-E0AF-822D-2379-A14B204CA5C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76264" y="1139640"/>
            <a:ext cx="7612996" cy="3005417"/>
          </a:xfrm>
        </p:spPr>
        <p:txBody>
          <a:bodyPr vert="horz" lIns="0" tIns="0" rIns="0" bIns="0" rtlCol="0" anchor="t">
            <a:noAutofit/>
          </a:bodyPr>
          <a:lstStyle/>
          <a:p>
            <a:pPr marL="287655" indent="-287655"/>
            <a:r>
              <a:rPr lang="de-DE" dirty="0">
                <a:hlinkClick r:id="rId2" action="ppaction://hlinksldjump"/>
              </a:rPr>
              <a:t>IP </a:t>
            </a:r>
            <a:r>
              <a:rPr lang="de-DE" dirty="0" err="1">
                <a:hlinkClick r:id="rId2" action="ppaction://hlinksldjump"/>
              </a:rPr>
              <a:t>access</a:t>
            </a:r>
            <a:endParaRPr lang="de-DE" dirty="0">
              <a:cs typeface="Arial" panose="020B0604020202020204"/>
            </a:endParaRPr>
          </a:p>
          <a:p>
            <a:pPr marL="287655" indent="-287655"/>
            <a:r>
              <a:rPr lang="de-DE" dirty="0" err="1">
                <a:hlinkClick r:id="rId3" action="ppaction://hlinksldjump"/>
              </a:rPr>
              <a:t>federated</a:t>
            </a:r>
            <a:r>
              <a:rPr lang="de-DE" dirty="0">
                <a:hlinkClick r:id="rId3" action="ppaction://hlinksldjump"/>
              </a:rPr>
              <a:t>/SSO access </a:t>
            </a:r>
            <a:endParaRPr lang="de-DE" dirty="0">
              <a:cs typeface="Arial" panose="020B0604020202020204"/>
            </a:endParaRPr>
          </a:p>
          <a:p>
            <a:pPr marL="287655" indent="-287655"/>
            <a:r>
              <a:rPr lang="de-DE" dirty="0">
                <a:hlinkClick r:id="rId4" action="ppaction://hlinksldjump"/>
              </a:rPr>
              <a:t>Known error messages</a:t>
            </a:r>
            <a:endParaRPr lang="de-DE" dirty="0">
              <a:cs typeface="Arial" panose="020B0604020202020204"/>
            </a:endParaRPr>
          </a:p>
          <a:p>
            <a:pPr marL="287655" indent="-287655"/>
            <a:endParaRPr lang="de-DE" sz="1500" dirty="0">
              <a:cs typeface="Arial" panose="020B0604020202020204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0854B6C-2BAC-5A86-3F71-E0F6A4FB6E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812135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screenshot of a sign in&#10;&#10;Description automatically generated">
            <a:extLst>
              <a:ext uri="{FF2B5EF4-FFF2-40B4-BE49-F238E27FC236}">
                <a16:creationId xmlns:a16="http://schemas.microsoft.com/office/drawing/2014/main" id="{54EB74DE-7997-BBE8-602F-A67F1999C1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3262" y="2022784"/>
            <a:ext cx="4579144" cy="263604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3DC5C9E-D0A7-9F27-D1C2-E222560D061C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de-DE" dirty="0" err="1"/>
              <a:t>Accessing</a:t>
            </a:r>
            <a:r>
              <a:rPr lang="de-DE" dirty="0"/>
              <a:t> Reaxys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company</a:t>
            </a:r>
            <a:r>
              <a:rPr lang="de-DE" dirty="0"/>
              <a:t> network</a:t>
            </a:r>
          </a:p>
          <a:p>
            <a:pPr lvl="1"/>
            <a:r>
              <a:rPr lang="de-DE" dirty="0">
                <a:hlinkClick r:id="rId4"/>
              </a:rPr>
              <a:t>https://www.reaxys.com</a:t>
            </a:r>
            <a:endParaRPr lang="de-DE" dirty="0"/>
          </a:p>
          <a:p>
            <a:pPr lvl="1"/>
            <a:r>
              <a:rPr lang="de-DE" dirty="0"/>
              <a:t>Gets </a:t>
            </a:r>
            <a:r>
              <a:rPr lang="de-DE" dirty="0" err="1"/>
              <a:t>acces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company</a:t>
            </a:r>
            <a:r>
              <a:rPr lang="de-DE" dirty="0"/>
              <a:t> network Reaxys </a:t>
            </a:r>
            <a:r>
              <a:rPr lang="de-DE" dirty="0" err="1"/>
              <a:t>login</a:t>
            </a:r>
            <a:r>
              <a:rPr lang="de-DE" dirty="0"/>
              <a:t> </a:t>
            </a:r>
            <a:r>
              <a:rPr lang="de-DE" dirty="0" err="1"/>
              <a:t>page</a:t>
            </a:r>
            <a:endParaRPr lang="de-DE" dirty="0"/>
          </a:p>
          <a:p>
            <a:pPr lvl="1"/>
            <a:r>
              <a:rPr lang="de-DE" dirty="0"/>
              <a:t>User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register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page</a:t>
            </a:r>
            <a:br>
              <a:rPr lang="de-DE" dirty="0"/>
            </a:br>
            <a:endParaRPr lang="de-DE" dirty="0"/>
          </a:p>
          <a:p>
            <a:pPr lvl="1"/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0FBCA8C-DE3F-2D71-09A3-C97F8C3DF9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P </a:t>
            </a:r>
            <a:r>
              <a:rPr lang="de-DE" dirty="0" err="1"/>
              <a:t>acces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required</a:t>
            </a:r>
            <a:r>
              <a:rPr lang="de-DE" dirty="0"/>
              <a:t> </a:t>
            </a:r>
            <a:r>
              <a:rPr lang="de-DE" dirty="0" err="1"/>
              <a:t>login</a:t>
            </a:r>
            <a:endParaRPr lang="de-DE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5FF8F0A-5216-172E-A22A-4955DCB2096C}"/>
              </a:ext>
            </a:extLst>
          </p:cNvPr>
          <p:cNvSpPr/>
          <p:nvPr/>
        </p:nvSpPr>
        <p:spPr>
          <a:xfrm>
            <a:off x="2060840" y="2579423"/>
            <a:ext cx="1924050" cy="6858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srgbClr val="53565A"/>
                </a:solidFill>
                <a:cs typeface="Arial"/>
              </a:rPr>
              <a:t>Message user credentials are required, can be customized</a:t>
            </a:r>
            <a:endParaRPr lang="en-US" sz="135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16FA096-4017-CA09-8927-955325CAE9CC}"/>
              </a:ext>
            </a:extLst>
          </p:cNvPr>
          <p:cNvGrpSpPr/>
          <p:nvPr/>
        </p:nvGrpSpPr>
        <p:grpSpPr>
          <a:xfrm>
            <a:off x="2060840" y="3486062"/>
            <a:ext cx="1924050" cy="685800"/>
            <a:chOff x="899230" y="5466526"/>
            <a:chExt cx="2565400" cy="914400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0F4C9EF3-8281-9410-CBAF-2A26223C1ED6}"/>
                </a:ext>
              </a:extLst>
            </p:cNvPr>
            <p:cNvSpPr/>
            <p:nvPr/>
          </p:nvSpPr>
          <p:spPr>
            <a:xfrm>
              <a:off x="899230" y="5466526"/>
              <a:ext cx="2565400" cy="9144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/>
              <a:endParaRPr lang="en-US" sz="900">
                <a:solidFill>
                  <a:srgbClr val="53565A"/>
                </a:solidFill>
                <a:cs typeface="Arial"/>
              </a:endParaRPr>
            </a:p>
            <a:p>
              <a:pPr algn="ctr"/>
              <a:endParaRPr lang="en-US" sz="900">
                <a:solidFill>
                  <a:srgbClr val="53565A"/>
                </a:solidFill>
                <a:cs typeface="Arial"/>
              </a:endParaRPr>
            </a:p>
            <a:p>
              <a:pPr algn="ctr"/>
              <a:r>
                <a:rPr lang="en-US" sz="900">
                  <a:solidFill>
                    <a:srgbClr val="53565A"/>
                  </a:solidFill>
                  <a:cs typeface="Arial"/>
                </a:rPr>
                <a:t>Registration option</a:t>
              </a:r>
              <a:endParaRPr lang="en-US" sz="1350">
                <a:cs typeface="Arial"/>
              </a:endParaRPr>
            </a:p>
          </p:txBody>
        </p:sp>
        <p:pic>
          <p:nvPicPr>
            <p:cNvPr id="11" name="Picture 10" descr="A blue text on a white background&#10;&#10;Description automatically generated">
              <a:extLst>
                <a:ext uri="{FF2B5EF4-FFF2-40B4-BE49-F238E27FC236}">
                  <a16:creationId xmlns:a16="http://schemas.microsoft.com/office/drawing/2014/main" id="{3A021C52-BFF8-BA20-96AA-9A69FD9144B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143177" y="5623277"/>
              <a:ext cx="2078685" cy="381000"/>
            </a:xfrm>
            <a:prstGeom prst="rect">
              <a:avLst/>
            </a:prstGeom>
          </p:spPr>
        </p:pic>
      </p:grp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3655BDC0-DA9D-50E2-C771-D0F3885B39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4022816" y="2521744"/>
            <a:ext cx="420597" cy="400403"/>
          </a:xfrm>
          <a:prstGeom prst="bentConnector3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C1684A6C-1C2C-9CFB-DF33-F28F256CF0A7}"/>
              </a:ext>
            </a:extLst>
          </p:cNvPr>
          <p:cNvCxnSpPr/>
          <p:nvPr/>
        </p:nvCxnSpPr>
        <p:spPr>
          <a:xfrm flipH="1">
            <a:off x="4055887" y="3349746"/>
            <a:ext cx="2330119" cy="476835"/>
          </a:xfrm>
          <a:prstGeom prst="bentConnector3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253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3DAEF48-9642-A6F8-4C82-EA51EE16DF9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76263" y="835026"/>
            <a:ext cx="8200193" cy="3897313"/>
          </a:xfrm>
        </p:spPr>
        <p:txBody>
          <a:bodyPr/>
          <a:lstStyle/>
          <a:p>
            <a:r>
              <a:rPr lang="de-DE"/>
              <a:t>User </a:t>
            </a:r>
            <a:r>
              <a:rPr lang="de-DE" err="1"/>
              <a:t>clicks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Register </a:t>
            </a:r>
            <a:r>
              <a:rPr lang="de-DE" err="1"/>
              <a:t>button</a:t>
            </a:r>
            <a:r>
              <a:rPr lang="de-DE"/>
              <a:t>, </a:t>
            </a:r>
            <a:r>
              <a:rPr lang="de-DE" err="1"/>
              <a:t>completes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form, </a:t>
            </a:r>
            <a:br>
              <a:rPr lang="de-DE"/>
            </a:br>
            <a:r>
              <a:rPr lang="de-DE"/>
              <a:t>e.g. </a:t>
            </a:r>
            <a:r>
              <a:rPr lang="de-DE" err="1"/>
              <a:t>password</a:t>
            </a:r>
            <a:r>
              <a:rPr lang="de-DE"/>
              <a:t> </a:t>
            </a:r>
            <a:r>
              <a:rPr lang="de-DE" err="1"/>
              <a:t>requirements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</a:t>
            </a:r>
            <a:r>
              <a:rPr lang="de-DE" err="1"/>
              <a:t>displayed</a:t>
            </a:r>
            <a:r>
              <a:rPr lang="de-DE"/>
              <a:t> in </a:t>
            </a:r>
            <a:r>
              <a:rPr lang="de-DE" err="1"/>
              <a:t>red</a:t>
            </a:r>
            <a:r>
              <a:rPr lang="de-DE"/>
              <a:t> and </a:t>
            </a:r>
            <a:r>
              <a:rPr lang="de-DE" err="1"/>
              <a:t>vanish</a:t>
            </a:r>
            <a:r>
              <a:rPr lang="de-DE"/>
              <a:t> </a:t>
            </a:r>
            <a:r>
              <a:rPr lang="de-DE" err="1"/>
              <a:t>when</a:t>
            </a:r>
            <a:r>
              <a:rPr lang="de-DE"/>
              <a:t> </a:t>
            </a:r>
            <a:r>
              <a:rPr lang="de-DE" err="1"/>
              <a:t>they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</a:t>
            </a:r>
            <a:r>
              <a:rPr lang="de-DE" err="1"/>
              <a:t>met</a:t>
            </a:r>
            <a:r>
              <a:rPr lang="de-DE"/>
              <a:t>, </a:t>
            </a:r>
            <a:br>
              <a:rPr lang="de-DE"/>
            </a:br>
            <a:r>
              <a:rPr lang="de-DE"/>
              <a:t>check „I </a:t>
            </a:r>
            <a:r>
              <a:rPr lang="de-DE" err="1"/>
              <a:t>have</a:t>
            </a:r>
            <a:r>
              <a:rPr lang="de-DE"/>
              <a:t> </a:t>
            </a:r>
            <a:r>
              <a:rPr lang="de-DE" err="1"/>
              <a:t>read</a:t>
            </a:r>
            <a:r>
              <a:rPr lang="de-DE"/>
              <a:t> User Agreement“ and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register</a:t>
            </a:r>
            <a:endParaRPr lang="de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1266F09-6305-0C30-69F0-D5FA6EC82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gistration </a:t>
            </a:r>
            <a:r>
              <a:rPr lang="de-DE" dirty="0" err="1"/>
              <a:t>process</a:t>
            </a:r>
            <a:r>
              <a:rPr lang="de-DE" dirty="0"/>
              <a:t> IP</a:t>
            </a:r>
          </a:p>
        </p:txBody>
      </p:sp>
      <p:pic>
        <p:nvPicPr>
          <p:cNvPr id="4" name="Picture 3" descr="A screenshot of a computer registration form&#10;&#10;Description automatically generated">
            <a:extLst>
              <a:ext uri="{FF2B5EF4-FFF2-40B4-BE49-F238E27FC236}">
                <a16:creationId xmlns:a16="http://schemas.microsoft.com/office/drawing/2014/main" id="{7353A5C4-CFA0-60A5-C181-2E6276549C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7978" y="1743869"/>
            <a:ext cx="2502731" cy="3082573"/>
          </a:xfrm>
          <a:prstGeom prst="rect">
            <a:avLst/>
          </a:prstGeom>
        </p:spPr>
      </p:pic>
      <p:pic>
        <p:nvPicPr>
          <p:cNvPr id="10" name="Picture 9" descr="A screenshot of a computer application&#10;&#10;Description automatically generated">
            <a:extLst>
              <a:ext uri="{FF2B5EF4-FFF2-40B4-BE49-F238E27FC236}">
                <a16:creationId xmlns:a16="http://schemas.microsoft.com/office/drawing/2014/main" id="{8CE4D36D-307D-A75F-7BE1-DA8036DDF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2843" y="1740342"/>
            <a:ext cx="1778313" cy="3086100"/>
          </a:xfrm>
          <a:prstGeom prst="rect">
            <a:avLst/>
          </a:prstGeom>
        </p:spPr>
      </p:pic>
      <p:pic>
        <p:nvPicPr>
          <p:cNvPr id="14" name="Picture 13" descr="A screenshot of a login form&#10;&#10;Description automatically generated">
            <a:extLst>
              <a:ext uri="{FF2B5EF4-FFF2-40B4-BE49-F238E27FC236}">
                <a16:creationId xmlns:a16="http://schemas.microsoft.com/office/drawing/2014/main" id="{D4565C8D-5EC8-4712-52F9-A76650696D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5423" y="1740342"/>
            <a:ext cx="2034922" cy="308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2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3DAEF48-9642-A6F8-4C82-EA51EE16DF9D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de-DE"/>
              <a:t>User </a:t>
            </a:r>
            <a:r>
              <a:rPr lang="de-DE" err="1"/>
              <a:t>receives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message</a:t>
            </a:r>
            <a:r>
              <a:rPr lang="de-DE"/>
              <a:t>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confirmation</a:t>
            </a:r>
            <a:r>
              <a:rPr lang="de-DE"/>
              <a:t> email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sent</a:t>
            </a:r>
            <a:r>
              <a:rPr lang="de-DE"/>
              <a:t>,</a:t>
            </a:r>
            <a:br>
              <a:rPr lang="de-DE"/>
            </a:br>
            <a:r>
              <a:rPr lang="de-DE"/>
              <a:t>ope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firmation</a:t>
            </a:r>
            <a:r>
              <a:rPr lang="de-DE"/>
              <a:t> email and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link,</a:t>
            </a:r>
            <a:br>
              <a:rPr lang="de-DE"/>
            </a:br>
            <a:r>
              <a:rPr lang="de-DE" err="1"/>
              <a:t>user</a:t>
            </a:r>
            <a:r>
              <a:rPr lang="de-DE"/>
              <a:t> </a:t>
            </a:r>
            <a:r>
              <a:rPr lang="de-DE" err="1"/>
              <a:t>ge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message</a:t>
            </a:r>
            <a:r>
              <a:rPr lang="de-DE"/>
              <a:t> Registration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successful</a:t>
            </a:r>
            <a:r>
              <a:rPr lang="de-DE"/>
              <a:t> and </a:t>
            </a:r>
            <a:r>
              <a:rPr lang="de-DE" err="1"/>
              <a:t>click</a:t>
            </a:r>
            <a:r>
              <a:rPr lang="de-DE"/>
              <a:t> „</a:t>
            </a:r>
            <a:r>
              <a:rPr lang="de-DE" err="1"/>
              <a:t>Got</a:t>
            </a:r>
            <a:r>
              <a:rPr lang="de-DE"/>
              <a:t> </a:t>
            </a:r>
            <a:r>
              <a:rPr lang="de-DE" err="1"/>
              <a:t>it</a:t>
            </a:r>
            <a:r>
              <a:rPr lang="de-DE"/>
              <a:t>“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1266F09-6305-0C30-69F0-D5FA6EC82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egistration </a:t>
            </a:r>
            <a:r>
              <a:rPr lang="de-DE" err="1"/>
              <a:t>process</a:t>
            </a:r>
            <a:r>
              <a:rPr lang="de-DE"/>
              <a:t> IP </a:t>
            </a:r>
            <a:r>
              <a:rPr lang="de-DE" err="1"/>
              <a:t>access</a:t>
            </a:r>
            <a:r>
              <a:rPr lang="de-DE"/>
              <a:t> -2</a:t>
            </a:r>
          </a:p>
        </p:txBody>
      </p:sp>
      <p:pic>
        <p:nvPicPr>
          <p:cNvPr id="4" name="Picture 3" descr="A close-up of a message&#10;&#10;Description automatically generated">
            <a:extLst>
              <a:ext uri="{FF2B5EF4-FFF2-40B4-BE49-F238E27FC236}">
                <a16:creationId xmlns:a16="http://schemas.microsoft.com/office/drawing/2014/main" id="{FCD3C9E6-5392-7D2D-447E-232AA10E7D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077" y="1907654"/>
            <a:ext cx="3234973" cy="1111057"/>
          </a:xfrm>
          <a:prstGeom prst="rect">
            <a:avLst/>
          </a:prstGeom>
        </p:spPr>
      </p:pic>
      <p:pic>
        <p:nvPicPr>
          <p:cNvPr id="5" name="Picture 4" descr="A white card with black text&#10;&#10;Description automatically generated">
            <a:extLst>
              <a:ext uri="{FF2B5EF4-FFF2-40B4-BE49-F238E27FC236}">
                <a16:creationId xmlns:a16="http://schemas.microsoft.com/office/drawing/2014/main" id="{B993DB41-2907-7BC0-C6FC-9CBBB66747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1966" y="1905948"/>
            <a:ext cx="2913945" cy="1113593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76A6FBE8-7C70-F12A-B3BC-2AEB323C2E53}"/>
              </a:ext>
            </a:extLst>
          </p:cNvPr>
          <p:cNvSpPr/>
          <p:nvPr/>
        </p:nvSpPr>
        <p:spPr>
          <a:xfrm>
            <a:off x="362657" y="1869017"/>
            <a:ext cx="131940" cy="128412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50">
              <a:solidFill>
                <a:schemeClr val="tx1"/>
              </a:solidFill>
              <a:cs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8C5B2B-32E9-3BF9-FB4E-03657496BE2E}"/>
              </a:ext>
            </a:extLst>
          </p:cNvPr>
          <p:cNvSpPr txBox="1"/>
          <p:nvPr/>
        </p:nvSpPr>
        <p:spPr>
          <a:xfrm>
            <a:off x="355221" y="1856968"/>
            <a:ext cx="95956" cy="1615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600" b="1">
                <a:cs typeface="Arial"/>
              </a:rPr>
              <a:t>1</a:t>
            </a:r>
            <a:endParaRPr lang="en-US" sz="600" b="1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975958D-8628-AB8A-5361-E8F02F9A1E10}"/>
              </a:ext>
            </a:extLst>
          </p:cNvPr>
          <p:cNvSpPr/>
          <p:nvPr/>
        </p:nvSpPr>
        <p:spPr>
          <a:xfrm>
            <a:off x="5329767" y="1858433"/>
            <a:ext cx="131940" cy="128412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50">
              <a:solidFill>
                <a:schemeClr val="tx1"/>
              </a:solidFill>
              <a:cs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70E0845-2C4F-DB63-C1CE-7E7F4E76FF6B}"/>
              </a:ext>
            </a:extLst>
          </p:cNvPr>
          <p:cNvSpPr txBox="1"/>
          <p:nvPr/>
        </p:nvSpPr>
        <p:spPr>
          <a:xfrm>
            <a:off x="5329386" y="1846384"/>
            <a:ext cx="95956" cy="1615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600" b="1">
                <a:cs typeface="Arial"/>
              </a:rPr>
              <a:t>3</a:t>
            </a:r>
          </a:p>
        </p:txBody>
      </p:sp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9553A1B7-CCB2-EE57-AFD4-BF281E163A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8849" y="3079324"/>
            <a:ext cx="3828627" cy="193672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84871755-120C-7BB9-D0BF-C94477EFF3EF}"/>
              </a:ext>
            </a:extLst>
          </p:cNvPr>
          <p:cNvGrpSpPr/>
          <p:nvPr/>
        </p:nvGrpSpPr>
        <p:grpSpPr>
          <a:xfrm>
            <a:off x="2419776" y="3012168"/>
            <a:ext cx="135043" cy="161583"/>
            <a:chOff x="3226368" y="4016217"/>
            <a:chExt cx="180057" cy="215444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597FB93-A766-A6A0-E66B-76D1611EAC19}"/>
                </a:ext>
              </a:extLst>
            </p:cNvPr>
            <p:cNvSpPr/>
            <p:nvPr/>
          </p:nvSpPr>
          <p:spPr>
            <a:xfrm>
              <a:off x="3230505" y="4039540"/>
              <a:ext cx="175920" cy="171216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>
                <a:solidFill>
                  <a:schemeClr val="tx1"/>
                </a:solidFill>
                <a:cs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4CAFAD2-6D04-4F5D-8986-F6553ADF2CC6}"/>
                </a:ext>
              </a:extLst>
            </p:cNvPr>
            <p:cNvSpPr txBox="1"/>
            <p:nvPr/>
          </p:nvSpPr>
          <p:spPr>
            <a:xfrm>
              <a:off x="3226368" y="4016217"/>
              <a:ext cx="127941" cy="215444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/>
              <a:r>
                <a:rPr lang="en-US" sz="600" b="1">
                  <a:cs typeface="Arial"/>
                </a:rPr>
                <a:t>2</a:t>
              </a:r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DFC4CBA0-37B2-EAA6-5311-C0F6E812082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62375" y="4194174"/>
            <a:ext cx="228600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129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9646C6-BB32-4C67-A61B-8AF78A3790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3B6ED20-6291-BFFE-DCE2-2914D1B2D5FC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de-DE" err="1"/>
              <a:t>Accessing</a:t>
            </a:r>
            <a:r>
              <a:rPr lang="de-DE"/>
              <a:t> Reaxys </a:t>
            </a:r>
            <a:r>
              <a:rPr lang="de-DE" err="1"/>
              <a:t>from</a:t>
            </a:r>
            <a:r>
              <a:rPr lang="de-DE"/>
              <a:t> </a:t>
            </a:r>
            <a:r>
              <a:rPr lang="de-DE" err="1"/>
              <a:t>everywhere</a:t>
            </a:r>
            <a:endParaRPr lang="de-DE"/>
          </a:p>
          <a:p>
            <a:pPr lvl="1"/>
            <a:r>
              <a:rPr lang="de-DE">
                <a:hlinkClick r:id="rId2"/>
              </a:rPr>
              <a:t>https://www.reaxys.com</a:t>
            </a:r>
            <a:endParaRPr lang="de-DE"/>
          </a:p>
          <a:p>
            <a:pPr lvl="1"/>
            <a:r>
              <a:rPr lang="de-DE"/>
              <a:t>Gets </a:t>
            </a:r>
            <a:r>
              <a:rPr lang="de-DE" err="1"/>
              <a:t>acces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Reaxys Login </a:t>
            </a:r>
            <a:r>
              <a:rPr lang="de-DE" err="1"/>
              <a:t>page</a:t>
            </a:r>
            <a:endParaRPr lang="de-DE"/>
          </a:p>
          <a:p>
            <a:pPr lvl="1"/>
            <a:r>
              <a:rPr lang="de-DE"/>
              <a:t>Select „Institution </a:t>
            </a:r>
            <a:r>
              <a:rPr lang="de-DE" err="1"/>
              <a:t>Sign</a:t>
            </a:r>
            <a:r>
              <a:rPr lang="de-DE"/>
              <a:t> In“</a:t>
            </a:r>
          </a:p>
          <a:p>
            <a:pPr lvl="1"/>
            <a:r>
              <a:rPr lang="de-DE"/>
              <a:t>Search and </a:t>
            </a:r>
            <a:r>
              <a:rPr lang="de-DE" err="1"/>
              <a:t>select</a:t>
            </a:r>
            <a:r>
              <a:rPr lang="de-DE"/>
              <a:t> Institution</a:t>
            </a:r>
          </a:p>
          <a:p>
            <a:pPr lvl="1"/>
            <a:r>
              <a:rPr lang="de-DE"/>
              <a:t>Click „Go“</a:t>
            </a:r>
            <a:br>
              <a:rPr lang="de-DE"/>
            </a:br>
            <a:endParaRPr lang="de-DE"/>
          </a:p>
          <a:p>
            <a:pPr lvl="1"/>
            <a:endParaRPr lang="de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F0CAC5C-E8E3-A86E-586F-43CB093ED9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quired</a:t>
            </a:r>
            <a:r>
              <a:rPr lang="de-DE" dirty="0"/>
              <a:t> </a:t>
            </a:r>
            <a:r>
              <a:rPr lang="de-DE" dirty="0" err="1"/>
              <a:t>login</a:t>
            </a:r>
            <a:r>
              <a:rPr lang="de-DE" dirty="0"/>
              <a:t> </a:t>
            </a:r>
            <a:r>
              <a:rPr lang="de-DE"/>
              <a:t>federated/SSO</a:t>
            </a:r>
            <a:r>
              <a:rPr lang="de-DE" dirty="0"/>
              <a:t> </a:t>
            </a:r>
            <a:r>
              <a:rPr lang="de-DE" dirty="0" err="1"/>
              <a:t>access</a:t>
            </a:r>
            <a:r>
              <a:rPr lang="de-DE" dirty="0"/>
              <a:t> </a:t>
            </a:r>
          </a:p>
        </p:txBody>
      </p:sp>
      <p:pic>
        <p:nvPicPr>
          <p:cNvPr id="6" name="Picture 5" descr="A screenshot of a sign in&#10;&#10;Description automatically generated">
            <a:extLst>
              <a:ext uri="{FF2B5EF4-FFF2-40B4-BE49-F238E27FC236}">
                <a16:creationId xmlns:a16="http://schemas.microsoft.com/office/drawing/2014/main" id="{79946543-E71C-90AA-DB8F-BA3C09D300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9278" y="3247234"/>
            <a:ext cx="2786945" cy="159896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3ED0E46E-8531-BE9C-30F6-EC00BAEA4ADD}"/>
              </a:ext>
            </a:extLst>
          </p:cNvPr>
          <p:cNvGrpSpPr/>
          <p:nvPr/>
        </p:nvGrpSpPr>
        <p:grpSpPr>
          <a:xfrm>
            <a:off x="2491535" y="3705551"/>
            <a:ext cx="1998593" cy="685800"/>
            <a:chOff x="7982394" y="5548125"/>
            <a:chExt cx="2664791" cy="914400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46A68360-34F4-2E79-4A76-529FC4164A05}"/>
                </a:ext>
              </a:extLst>
            </p:cNvPr>
            <p:cNvSpPr/>
            <p:nvPr/>
          </p:nvSpPr>
          <p:spPr>
            <a:xfrm>
              <a:off x="7982394" y="5548125"/>
              <a:ext cx="2664791" cy="9144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/>
              <a:endParaRPr lang="en-US" sz="900">
                <a:solidFill>
                  <a:srgbClr val="53565A"/>
                </a:solidFill>
                <a:cs typeface="Arial"/>
              </a:endParaRPr>
            </a:p>
            <a:p>
              <a:pPr algn="ctr"/>
              <a:endParaRPr lang="en-US" sz="900">
                <a:solidFill>
                  <a:srgbClr val="53565A"/>
                </a:solidFill>
                <a:cs typeface="Arial"/>
              </a:endParaRPr>
            </a:p>
            <a:p>
              <a:pPr algn="ctr"/>
              <a:r>
                <a:rPr lang="en-US" sz="900">
                  <a:solidFill>
                    <a:srgbClr val="53565A"/>
                  </a:solidFill>
                  <a:cs typeface="Arial"/>
                </a:rPr>
                <a:t>Option 2</a:t>
              </a:r>
              <a:endParaRPr lang="en-US" sz="1350">
                <a:cs typeface="Arial"/>
              </a:endParaRPr>
            </a:p>
          </p:txBody>
        </p:sp>
        <p:pic>
          <p:nvPicPr>
            <p:cNvPr id="9" name="Picture 8" descr="A blue text on a white background&#10;&#10;Description automatically generated">
              <a:extLst>
                <a:ext uri="{FF2B5EF4-FFF2-40B4-BE49-F238E27FC236}">
                  <a16:creationId xmlns:a16="http://schemas.microsoft.com/office/drawing/2014/main" id="{4328BB33-8BB4-BEC4-8DA0-CAE25D072C2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056321" y="5665044"/>
              <a:ext cx="2586566" cy="335707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CC16D63-19D0-C68C-3E4E-396DA993A217}"/>
              </a:ext>
            </a:extLst>
          </p:cNvPr>
          <p:cNvGrpSpPr/>
          <p:nvPr/>
        </p:nvGrpSpPr>
        <p:grpSpPr>
          <a:xfrm>
            <a:off x="2491536" y="2906279"/>
            <a:ext cx="1998593" cy="685800"/>
            <a:chOff x="4481612" y="3875038"/>
            <a:chExt cx="2664791" cy="914400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CBAC6B6E-D2D5-F9D7-CE1D-53A52BE6D7E2}"/>
                </a:ext>
              </a:extLst>
            </p:cNvPr>
            <p:cNvSpPr/>
            <p:nvPr/>
          </p:nvSpPr>
          <p:spPr>
            <a:xfrm>
              <a:off x="4481612" y="3875038"/>
              <a:ext cx="2664791" cy="9144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/>
              <a:endParaRPr lang="en-US" sz="900">
                <a:solidFill>
                  <a:srgbClr val="53565A"/>
                </a:solidFill>
                <a:cs typeface="Arial"/>
              </a:endParaRPr>
            </a:p>
            <a:p>
              <a:pPr algn="ctr"/>
              <a:endParaRPr lang="en-US" sz="900">
                <a:solidFill>
                  <a:srgbClr val="53565A"/>
                </a:solidFill>
                <a:cs typeface="Arial"/>
              </a:endParaRPr>
            </a:p>
            <a:p>
              <a:pPr algn="ctr"/>
              <a:r>
                <a:rPr lang="en-US" sz="900">
                  <a:solidFill>
                    <a:srgbClr val="53565A"/>
                  </a:solidFill>
                  <a:cs typeface="Arial"/>
                </a:rPr>
                <a:t>Option 1</a:t>
              </a:r>
              <a:endParaRPr lang="en-US" sz="1350">
                <a:cs typeface="Arial"/>
              </a:endParaRPr>
            </a:p>
          </p:txBody>
        </p:sp>
        <p:pic>
          <p:nvPicPr>
            <p:cNvPr id="13" name="Picture 12" descr="A black text on a white background&#10;&#10;Description automatically generated">
              <a:extLst>
                <a:ext uri="{FF2B5EF4-FFF2-40B4-BE49-F238E27FC236}">
                  <a16:creationId xmlns:a16="http://schemas.microsoft.com/office/drawing/2014/main" id="{193A9FF0-0319-3AC6-F652-4A840A48F47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928152" y="3967370"/>
              <a:ext cx="1933161" cy="368025"/>
            </a:xfrm>
            <a:prstGeom prst="rect">
              <a:avLst/>
            </a:prstGeom>
          </p:spPr>
        </p:pic>
      </p:grp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E7B55B0F-060D-31C5-FEDE-DBE7C2B77F14}"/>
              </a:ext>
            </a:extLst>
          </p:cNvPr>
          <p:cNvCxnSpPr/>
          <p:nvPr/>
        </p:nvCxnSpPr>
        <p:spPr>
          <a:xfrm flipV="1">
            <a:off x="2076541" y="3242185"/>
            <a:ext cx="408137" cy="101360"/>
          </a:xfrm>
          <a:prstGeom prst="bentConnector3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66C3F0E3-6F98-1776-6D8A-38592FF5B9CA}"/>
              </a:ext>
            </a:extLst>
          </p:cNvPr>
          <p:cNvCxnSpPr/>
          <p:nvPr/>
        </p:nvCxnSpPr>
        <p:spPr>
          <a:xfrm flipV="1">
            <a:off x="1849423" y="4050236"/>
            <a:ext cx="631885" cy="149885"/>
          </a:xfrm>
          <a:prstGeom prst="bentConnector3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A screenshot of a sign in&#10;&#10;Description automatically generated">
            <a:extLst>
              <a:ext uri="{FF2B5EF4-FFF2-40B4-BE49-F238E27FC236}">
                <a16:creationId xmlns:a16="http://schemas.microsoft.com/office/drawing/2014/main" id="{3EF8D1ED-EF03-46A4-B668-D0F7E6A209D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31309" y="2685157"/>
            <a:ext cx="1860227" cy="2175272"/>
          </a:xfrm>
          <a:prstGeom prst="rect">
            <a:avLst/>
          </a:prstGeom>
        </p:spPr>
      </p:pic>
      <p:pic>
        <p:nvPicPr>
          <p:cNvPr id="22" name="Picture 21" descr="A white sign with black text and a hand pointing to the word&#10;&#10;Description automatically generated">
            <a:extLst>
              <a:ext uri="{FF2B5EF4-FFF2-40B4-BE49-F238E27FC236}">
                <a16:creationId xmlns:a16="http://schemas.microsoft.com/office/drawing/2014/main" id="{09D81511-8C71-4AD4-E7BF-0DB16D0C0BC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73168" y="2683349"/>
            <a:ext cx="2227958" cy="1085003"/>
          </a:xfrm>
          <a:prstGeom prst="rect">
            <a:avLst/>
          </a:prstGeom>
        </p:spPr>
      </p:pic>
      <p:sp>
        <p:nvSpPr>
          <p:cNvPr id="24" name="Arrow: Right 23">
            <a:extLst>
              <a:ext uri="{FF2B5EF4-FFF2-40B4-BE49-F238E27FC236}">
                <a16:creationId xmlns:a16="http://schemas.microsoft.com/office/drawing/2014/main" id="{F4602FC0-D446-268F-9EE3-14835D2F5EA5}"/>
              </a:ext>
            </a:extLst>
          </p:cNvPr>
          <p:cNvSpPr/>
          <p:nvPr/>
        </p:nvSpPr>
        <p:spPr>
          <a:xfrm>
            <a:off x="6441984" y="3309770"/>
            <a:ext cx="349830" cy="189345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6A0CBB34-3C92-C347-2BA4-EBEA6D57B434}"/>
              </a:ext>
            </a:extLst>
          </p:cNvPr>
          <p:cNvSpPr/>
          <p:nvPr/>
        </p:nvSpPr>
        <p:spPr>
          <a:xfrm>
            <a:off x="237641" y="3163821"/>
            <a:ext cx="131940" cy="128412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50">
              <a:solidFill>
                <a:schemeClr val="tx1"/>
              </a:solidFill>
              <a:cs typeface="Arial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7D8FAAB-18F5-D8F8-1528-B93DB4333D7B}"/>
              </a:ext>
            </a:extLst>
          </p:cNvPr>
          <p:cNvSpPr txBox="1"/>
          <p:nvPr/>
        </p:nvSpPr>
        <p:spPr>
          <a:xfrm>
            <a:off x="230205" y="3151772"/>
            <a:ext cx="95956" cy="1615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600" b="1">
                <a:cs typeface="Arial"/>
              </a:rPr>
              <a:t>1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83DD19B-F167-4F5C-D6B7-F815F938DA04}"/>
              </a:ext>
            </a:extLst>
          </p:cNvPr>
          <p:cNvGrpSpPr/>
          <p:nvPr/>
        </p:nvGrpSpPr>
        <p:grpSpPr>
          <a:xfrm>
            <a:off x="4668314" y="2624695"/>
            <a:ext cx="132321" cy="161583"/>
            <a:chOff x="3229997" y="4023475"/>
            <a:chExt cx="176428" cy="215444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EC365F8E-73D7-A793-10A6-11676B540A9B}"/>
                </a:ext>
              </a:extLst>
            </p:cNvPr>
            <p:cNvSpPr/>
            <p:nvPr/>
          </p:nvSpPr>
          <p:spPr>
            <a:xfrm>
              <a:off x="3230505" y="4039540"/>
              <a:ext cx="175920" cy="171216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>
                <a:solidFill>
                  <a:schemeClr val="tx1"/>
                </a:solidFill>
                <a:cs typeface="Arial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1497947-8357-2AAC-899D-784821DEA926}"/>
                </a:ext>
              </a:extLst>
            </p:cNvPr>
            <p:cNvSpPr txBox="1"/>
            <p:nvPr/>
          </p:nvSpPr>
          <p:spPr>
            <a:xfrm>
              <a:off x="3229997" y="4023475"/>
              <a:ext cx="127941" cy="215444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/>
              <a:r>
                <a:rPr lang="en-US" sz="600" b="1">
                  <a:cs typeface="Arial"/>
                </a:rPr>
                <a:t>2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824F7BD-4E07-C965-548A-1DE248D5E6CF}"/>
              </a:ext>
            </a:extLst>
          </p:cNvPr>
          <p:cNvGrpSpPr/>
          <p:nvPr/>
        </p:nvGrpSpPr>
        <p:grpSpPr>
          <a:xfrm>
            <a:off x="6726607" y="2624695"/>
            <a:ext cx="132321" cy="161583"/>
            <a:chOff x="3229997" y="4023475"/>
            <a:chExt cx="176428" cy="215444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08C5B2FB-7B93-FB8B-78F0-7F5AD664B54B}"/>
                </a:ext>
              </a:extLst>
            </p:cNvPr>
            <p:cNvSpPr/>
            <p:nvPr/>
          </p:nvSpPr>
          <p:spPr>
            <a:xfrm>
              <a:off x="3230505" y="4039540"/>
              <a:ext cx="175920" cy="171216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>
                <a:solidFill>
                  <a:schemeClr val="tx1"/>
                </a:solidFill>
                <a:cs typeface="Arial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C7A852E-66DD-D3CF-EDE3-1EAF24FF0A85}"/>
                </a:ext>
              </a:extLst>
            </p:cNvPr>
            <p:cNvSpPr txBox="1"/>
            <p:nvPr/>
          </p:nvSpPr>
          <p:spPr>
            <a:xfrm>
              <a:off x="3229997" y="4023475"/>
              <a:ext cx="127941" cy="215444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/>
              <a:r>
                <a:rPr lang="en-US" sz="600" b="1">
                  <a:cs typeface="Arial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5174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E3B51-8CEB-77D7-0176-B27D04F784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564D319-8152-8BBF-41C2-09DFC58ED6E1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de-DE" dirty="0"/>
              <a:t>User </a:t>
            </a:r>
            <a:r>
              <a:rPr lang="de-DE" dirty="0" err="1"/>
              <a:t>signs</a:t>
            </a:r>
            <a:r>
              <a:rPr lang="de-DE" dirty="0"/>
              <a:t> in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ir</a:t>
            </a:r>
            <a:r>
              <a:rPr lang="de-DE" dirty="0"/>
              <a:t> IDP:</a:t>
            </a:r>
          </a:p>
          <a:p>
            <a:pPr lvl="1"/>
            <a:r>
              <a:rPr lang="de-DE" dirty="0" err="1"/>
              <a:t>for</a:t>
            </a:r>
            <a:r>
              <a:rPr lang="de-DE" dirty="0"/>
              <a:t> a „</a:t>
            </a:r>
            <a:r>
              <a:rPr lang="de-DE" dirty="0" err="1"/>
              <a:t>new</a:t>
            </a:r>
            <a:r>
              <a:rPr lang="de-DE" dirty="0"/>
              <a:t>“ </a:t>
            </a:r>
            <a:r>
              <a:rPr lang="de-DE" dirty="0" err="1"/>
              <a:t>us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ersonalization</a:t>
            </a:r>
            <a:r>
              <a:rPr lang="de-DE" dirty="0"/>
              <a:t> </a:t>
            </a:r>
            <a:r>
              <a:rPr lang="de-DE" dirty="0" err="1"/>
              <a:t>page</a:t>
            </a:r>
            <a:r>
              <a:rPr lang="de-DE" dirty="0"/>
              <a:t> will </a:t>
            </a:r>
            <a:r>
              <a:rPr lang="de-DE" dirty="0" err="1"/>
              <a:t>pop</a:t>
            </a:r>
            <a:r>
              <a:rPr lang="de-DE" dirty="0"/>
              <a:t> </a:t>
            </a:r>
            <a:r>
              <a:rPr lang="de-DE" dirty="0" err="1"/>
              <a:t>up</a:t>
            </a:r>
            <a:endParaRPr lang="de-DE" dirty="0"/>
          </a:p>
          <a:p>
            <a:pPr lvl="1"/>
            <a:r>
              <a:rPr lang="de-DE" dirty="0"/>
              <a:t>a </a:t>
            </a:r>
            <a:r>
              <a:rPr lang="de-DE" dirty="0" err="1"/>
              <a:t>user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err="1"/>
              <a:t>existing</a:t>
            </a:r>
            <a:r>
              <a:rPr lang="de-DE"/>
              <a:t> </a:t>
            </a:r>
            <a:r>
              <a:rPr lang="de-DE" dirty="0" err="1"/>
              <a:t>profile</a:t>
            </a:r>
            <a:r>
              <a:rPr lang="de-DE" dirty="0"/>
              <a:t> will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direc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page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25A5001-29A7-6F76-7E61-D24337938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Personalization</a:t>
            </a:r>
            <a:r>
              <a:rPr lang="de-DE"/>
              <a:t> </a:t>
            </a:r>
            <a:r>
              <a:rPr lang="de-DE" err="1"/>
              <a:t>process</a:t>
            </a:r>
            <a:r>
              <a:rPr lang="de-DE"/>
              <a:t> </a:t>
            </a:r>
            <a:r>
              <a:rPr lang="de-DE" err="1"/>
              <a:t>federated</a:t>
            </a:r>
            <a:r>
              <a:rPr lang="de-DE"/>
              <a:t> access- 1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EE024F96-5082-EAF5-89E2-BF71CAC65809}"/>
              </a:ext>
            </a:extLst>
          </p:cNvPr>
          <p:cNvCxnSpPr>
            <a:cxnSpLocks/>
          </p:cNvCxnSpPr>
          <p:nvPr/>
        </p:nvCxnSpPr>
        <p:spPr>
          <a:xfrm>
            <a:off x="5879204" y="3408074"/>
            <a:ext cx="877824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FD09DF2-82F4-ADC1-1C1C-FDB8CDA68B38}"/>
              </a:ext>
            </a:extLst>
          </p:cNvPr>
          <p:cNvSpPr txBox="1"/>
          <p:nvPr/>
        </p:nvSpPr>
        <p:spPr>
          <a:xfrm>
            <a:off x="5935828" y="3472618"/>
            <a:ext cx="962315" cy="230832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r>
              <a:rPr lang="de-DE" sz="1050"/>
              <a:t>New </a:t>
            </a:r>
            <a:r>
              <a:rPr lang="de-DE" sz="1050" err="1"/>
              <a:t>user</a:t>
            </a:r>
            <a:endParaRPr lang="de-DE" sz="1050">
              <a:cs typeface="Arial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A95E4BD-1C10-6D71-9667-ABEF69635E5A}"/>
              </a:ext>
            </a:extLst>
          </p:cNvPr>
          <p:cNvCxnSpPr>
            <a:cxnSpLocks/>
          </p:cNvCxnSpPr>
          <p:nvPr/>
        </p:nvCxnSpPr>
        <p:spPr>
          <a:xfrm flipH="1">
            <a:off x="2251096" y="3408273"/>
            <a:ext cx="814002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D0104B38-4528-5BA5-268F-1717FDEC9C92}"/>
              </a:ext>
            </a:extLst>
          </p:cNvPr>
          <p:cNvSpPr txBox="1"/>
          <p:nvPr/>
        </p:nvSpPr>
        <p:spPr>
          <a:xfrm>
            <a:off x="2130988" y="3469089"/>
            <a:ext cx="1106732" cy="553998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r>
              <a:rPr lang="de-DE" sz="1050" dirty="0"/>
              <a:t>User </a:t>
            </a:r>
            <a:r>
              <a:rPr lang="de-DE" sz="1050" dirty="0" err="1"/>
              <a:t>with</a:t>
            </a:r>
            <a:r>
              <a:rPr lang="de-DE" sz="1050" dirty="0"/>
              <a:t> </a:t>
            </a:r>
            <a:r>
              <a:rPr lang="de-DE" sz="1050" dirty="0" err="1"/>
              <a:t>profile</a:t>
            </a:r>
            <a:br>
              <a:rPr lang="de-DE" sz="1050" dirty="0"/>
            </a:br>
            <a:r>
              <a:rPr lang="de-DE" sz="1050" dirty="0" err="1"/>
              <a:t>created</a:t>
            </a:r>
            <a:r>
              <a:rPr lang="de-DE" sz="1050" dirty="0"/>
              <a:t> in </a:t>
            </a:r>
            <a:r>
              <a:rPr lang="de-DE" sz="1050" dirty="0" err="1"/>
              <a:t>other</a:t>
            </a:r>
            <a:r>
              <a:rPr lang="de-DE" sz="1050" dirty="0"/>
              <a:t> Elsevier </a:t>
            </a:r>
            <a:r>
              <a:rPr lang="de-DE" sz="1050" dirty="0" err="1"/>
              <a:t>product</a:t>
            </a:r>
            <a:endParaRPr lang="de-DE" sz="1050" dirty="0"/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30AA2898-D16E-7CD4-BDA4-EE9C109791B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8003" r="-145"/>
          <a:stretch/>
        </p:blipFill>
        <p:spPr>
          <a:xfrm>
            <a:off x="273860" y="2308439"/>
            <a:ext cx="1807519" cy="2582466"/>
          </a:xfrm>
          <a:prstGeom prst="rect">
            <a:avLst/>
          </a:prstGeom>
        </p:spPr>
      </p:pic>
      <p:pic>
        <p:nvPicPr>
          <p:cNvPr id="8" name="Picture 7" descr="A screenshot of a login page&#10;&#10;Description automatically generated">
            <a:extLst>
              <a:ext uri="{FF2B5EF4-FFF2-40B4-BE49-F238E27FC236}">
                <a16:creationId xmlns:a16="http://schemas.microsoft.com/office/drawing/2014/main" id="{7720ED3D-4A0E-31BF-3A76-FF73F128EB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415" y="2070100"/>
            <a:ext cx="1348139" cy="1293989"/>
          </a:xfrm>
          <a:prstGeom prst="rect">
            <a:avLst/>
          </a:prstGeom>
        </p:spPr>
      </p:pic>
      <p:pic>
        <p:nvPicPr>
          <p:cNvPr id="10" name="Picture 9" descr="A screenshot of a login form&#10;&#10;Description automatically generated">
            <a:extLst>
              <a:ext uri="{FF2B5EF4-FFF2-40B4-BE49-F238E27FC236}">
                <a16:creationId xmlns:a16="http://schemas.microsoft.com/office/drawing/2014/main" id="{0BC60566-85FC-26AF-2B48-312E4CCEF7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8703" y="2429934"/>
            <a:ext cx="2517856" cy="1705581"/>
          </a:xfrm>
          <a:prstGeom prst="rect">
            <a:avLst/>
          </a:prstGeom>
        </p:spPr>
      </p:pic>
      <p:pic>
        <p:nvPicPr>
          <p:cNvPr id="16" name="Picture 15" descr="A screenshot of a computer application&#10;&#10;Description automatically generated">
            <a:extLst>
              <a:ext uri="{FF2B5EF4-FFF2-40B4-BE49-F238E27FC236}">
                <a16:creationId xmlns:a16="http://schemas.microsoft.com/office/drawing/2014/main" id="{496D5DFC-A369-936D-E08A-E7AF874AF6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3228" y="1637628"/>
            <a:ext cx="2129159" cy="3251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61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8075F0-15B8-71E2-3A50-23B8C099F4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98F78-0CFD-FD44-7872-4289E599023D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de-DE"/>
              <a:t>User </a:t>
            </a:r>
            <a:r>
              <a:rPr lang="de-DE" err="1"/>
              <a:t>receives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message</a:t>
            </a:r>
            <a:r>
              <a:rPr lang="de-DE"/>
              <a:t>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confirmation</a:t>
            </a:r>
            <a:r>
              <a:rPr lang="de-DE"/>
              <a:t> email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sent</a:t>
            </a:r>
            <a:r>
              <a:rPr lang="de-DE"/>
              <a:t>,</a:t>
            </a:r>
            <a:br>
              <a:rPr lang="de-DE"/>
            </a:br>
            <a:r>
              <a:rPr lang="de-DE"/>
              <a:t>ope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firmation</a:t>
            </a:r>
            <a:r>
              <a:rPr lang="de-DE"/>
              <a:t> email and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link,</a:t>
            </a:r>
            <a:br>
              <a:rPr lang="de-DE"/>
            </a:br>
            <a:r>
              <a:rPr lang="de-DE" err="1"/>
              <a:t>user</a:t>
            </a:r>
            <a:r>
              <a:rPr lang="de-DE"/>
              <a:t> </a:t>
            </a:r>
            <a:r>
              <a:rPr lang="de-DE" err="1"/>
              <a:t>ge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message</a:t>
            </a:r>
            <a:r>
              <a:rPr lang="de-DE"/>
              <a:t> Registration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successful</a:t>
            </a:r>
            <a:r>
              <a:rPr lang="de-DE"/>
              <a:t> and </a:t>
            </a:r>
            <a:r>
              <a:rPr lang="de-DE" err="1"/>
              <a:t>click</a:t>
            </a:r>
            <a:r>
              <a:rPr lang="de-DE"/>
              <a:t> „</a:t>
            </a:r>
            <a:r>
              <a:rPr lang="de-DE" err="1"/>
              <a:t>Got</a:t>
            </a:r>
            <a:r>
              <a:rPr lang="de-DE"/>
              <a:t> </a:t>
            </a:r>
            <a:r>
              <a:rPr lang="de-DE" err="1"/>
              <a:t>it</a:t>
            </a:r>
            <a:r>
              <a:rPr lang="de-DE"/>
              <a:t>“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4217040-8512-244E-F890-207C5A610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Personalization</a:t>
            </a:r>
            <a:r>
              <a:rPr lang="de-DE"/>
              <a:t> </a:t>
            </a:r>
            <a:r>
              <a:rPr lang="de-DE" err="1"/>
              <a:t>process</a:t>
            </a:r>
            <a:r>
              <a:rPr lang="de-DE"/>
              <a:t> </a:t>
            </a:r>
            <a:r>
              <a:rPr lang="de-DE" err="1"/>
              <a:t>federated</a:t>
            </a:r>
            <a:r>
              <a:rPr lang="de-DE"/>
              <a:t> access-2</a:t>
            </a:r>
          </a:p>
        </p:txBody>
      </p:sp>
      <p:pic>
        <p:nvPicPr>
          <p:cNvPr id="7" name="Picture 6" descr="A close-up of a message&#10;&#10;Description automatically generated">
            <a:extLst>
              <a:ext uri="{FF2B5EF4-FFF2-40B4-BE49-F238E27FC236}">
                <a16:creationId xmlns:a16="http://schemas.microsoft.com/office/drawing/2014/main" id="{6A01F159-96D3-130A-87D8-66CE94B223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077" y="1907654"/>
            <a:ext cx="3234973" cy="1111057"/>
          </a:xfrm>
          <a:prstGeom prst="rect">
            <a:avLst/>
          </a:prstGeom>
        </p:spPr>
      </p:pic>
      <p:pic>
        <p:nvPicPr>
          <p:cNvPr id="9" name="Picture 8" descr="A white card with black text&#10;&#10;Description automatically generated">
            <a:extLst>
              <a:ext uri="{FF2B5EF4-FFF2-40B4-BE49-F238E27FC236}">
                <a16:creationId xmlns:a16="http://schemas.microsoft.com/office/drawing/2014/main" id="{4D370487-A83C-54CE-6D92-4531ACFC8B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1966" y="1905948"/>
            <a:ext cx="2913945" cy="1113593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EAA1BFBE-4943-32F1-08C1-EC4FFDD4356A}"/>
              </a:ext>
            </a:extLst>
          </p:cNvPr>
          <p:cNvSpPr/>
          <p:nvPr/>
        </p:nvSpPr>
        <p:spPr>
          <a:xfrm>
            <a:off x="362657" y="1869017"/>
            <a:ext cx="131940" cy="128412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50">
              <a:solidFill>
                <a:schemeClr val="tx1"/>
              </a:solidFill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4605718-E9D2-817F-6641-061E8C939CDF}"/>
              </a:ext>
            </a:extLst>
          </p:cNvPr>
          <p:cNvSpPr txBox="1"/>
          <p:nvPr/>
        </p:nvSpPr>
        <p:spPr>
          <a:xfrm>
            <a:off x="355221" y="1856968"/>
            <a:ext cx="95956" cy="1615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600" b="1">
                <a:cs typeface="Arial"/>
              </a:rPr>
              <a:t>1</a:t>
            </a:r>
            <a:endParaRPr lang="en-US" sz="600" b="1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ACEEF18-CB58-0068-D54C-48A24965CF2B}"/>
              </a:ext>
            </a:extLst>
          </p:cNvPr>
          <p:cNvGrpSpPr/>
          <p:nvPr/>
        </p:nvGrpSpPr>
        <p:grpSpPr>
          <a:xfrm>
            <a:off x="5329386" y="1846382"/>
            <a:ext cx="132321" cy="161583"/>
            <a:chOff x="7105848" y="2461846"/>
            <a:chExt cx="176428" cy="215444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C6240AB-2169-22B4-E426-BAAF3A9A78A0}"/>
                </a:ext>
              </a:extLst>
            </p:cNvPr>
            <p:cNvSpPr/>
            <p:nvPr/>
          </p:nvSpPr>
          <p:spPr>
            <a:xfrm>
              <a:off x="7106356" y="2477911"/>
              <a:ext cx="175920" cy="171216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>
                <a:solidFill>
                  <a:schemeClr val="tx1"/>
                </a:solidFill>
                <a:cs typeface="Arial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3F86D3D-C2D2-8F23-7969-84F4C09B0BB7}"/>
                </a:ext>
              </a:extLst>
            </p:cNvPr>
            <p:cNvSpPr txBox="1"/>
            <p:nvPr/>
          </p:nvSpPr>
          <p:spPr>
            <a:xfrm>
              <a:off x="7105848" y="2461846"/>
              <a:ext cx="127941" cy="215444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/>
              <a:r>
                <a:rPr lang="en-US" sz="600" b="1">
                  <a:cs typeface="Arial"/>
                </a:rPr>
                <a:t>3</a:t>
              </a:r>
            </a:p>
          </p:txBody>
        </p:sp>
      </p:grp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D83BA5FB-9741-A919-911D-EA63808C8BB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8849" y="3079324"/>
            <a:ext cx="3828627" cy="193672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962EF06C-B98C-56F3-0ECE-2DE0BCAF6B5A}"/>
              </a:ext>
            </a:extLst>
          </p:cNvPr>
          <p:cNvGrpSpPr/>
          <p:nvPr/>
        </p:nvGrpSpPr>
        <p:grpSpPr>
          <a:xfrm>
            <a:off x="2419776" y="3012168"/>
            <a:ext cx="135043" cy="161583"/>
            <a:chOff x="3226368" y="4016217"/>
            <a:chExt cx="180057" cy="215444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AD37A346-C0DE-1F3A-204B-218E81C71667}"/>
                </a:ext>
              </a:extLst>
            </p:cNvPr>
            <p:cNvSpPr/>
            <p:nvPr/>
          </p:nvSpPr>
          <p:spPr>
            <a:xfrm>
              <a:off x="3230505" y="4039540"/>
              <a:ext cx="175920" cy="171216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>
                <a:solidFill>
                  <a:schemeClr val="tx1"/>
                </a:solidFill>
                <a:cs typeface="Arial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4D5BA69-3D6E-0143-D47E-9103BED67B02}"/>
                </a:ext>
              </a:extLst>
            </p:cNvPr>
            <p:cNvSpPr txBox="1"/>
            <p:nvPr/>
          </p:nvSpPr>
          <p:spPr>
            <a:xfrm>
              <a:off x="3226368" y="4016217"/>
              <a:ext cx="127941" cy="215444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/>
              <a:r>
                <a:rPr lang="en-US" sz="600" b="1">
                  <a:cs typeface="Arial"/>
                </a:rPr>
                <a:t>2</a:t>
              </a:r>
            </a:p>
          </p:txBody>
        </p:sp>
      </p:grpSp>
      <p:pic>
        <p:nvPicPr>
          <p:cNvPr id="11" name="Graphic 10">
            <a:extLst>
              <a:ext uri="{FF2B5EF4-FFF2-40B4-BE49-F238E27FC236}">
                <a16:creationId xmlns:a16="http://schemas.microsoft.com/office/drawing/2014/main" id="{4C9EDA7B-1C35-D3A5-F9AE-1BA7E69728A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62375" y="4194174"/>
            <a:ext cx="228600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94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F4FBC8C-353D-06E1-1940-8BDAAC304B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Known</a:t>
            </a:r>
            <a:r>
              <a:rPr lang="de-DE"/>
              <a:t> </a:t>
            </a:r>
            <a:r>
              <a:rPr lang="de-DE" err="1"/>
              <a:t>error</a:t>
            </a:r>
            <a:r>
              <a:rPr lang="de-DE"/>
              <a:t> </a:t>
            </a:r>
            <a:r>
              <a:rPr lang="de-DE" err="1"/>
              <a:t>messages</a:t>
            </a:r>
            <a:endParaRPr lang="de-DE"/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558D2B80-31F7-AD82-27E6-BDB2BDA60219}"/>
              </a:ext>
            </a:extLst>
          </p:cNvPr>
          <p:cNvSpPr txBox="1">
            <a:spLocks/>
          </p:cNvSpPr>
          <p:nvPr/>
        </p:nvSpPr>
        <p:spPr>
          <a:xfrm>
            <a:off x="2416506" y="1072250"/>
            <a:ext cx="1907724" cy="12090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383990" indent="-38399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FF6C00"/>
              </a:buClr>
              <a:buFont typeface="Arial" panose="020B0604020202020204" pitchFamily="34" charset="0"/>
              <a:buChar char="•"/>
              <a:tabLst>
                <a:tab pos="355591" algn="l"/>
              </a:tabLst>
              <a:defRPr lang="nl-NL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3984" indent="-2399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800"/>
              </a:spcAft>
              <a:buClr>
                <a:srgbClr val="FF6C00"/>
              </a:buClr>
              <a:buFont typeface="Arial" panose="020B0604020202020204" pitchFamily="34" charset="0"/>
              <a:buChar char="−"/>
              <a:defRPr lang="nl-NL"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78" indent="-2399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8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nl-NL"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03972" indent="-2399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8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nl-NL"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3966" indent="-2399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8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de-DE"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12940" indent="-26034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9482" indent="-23494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11422" indent="-243411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4897" indent="-237061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sz="1500"/>
              <a:t>User </a:t>
            </a:r>
            <a:r>
              <a:rPr lang="de-DE" sz="1500" err="1"/>
              <a:t>tries</a:t>
            </a:r>
            <a:r>
              <a:rPr lang="de-DE" sz="1500"/>
              <a:t> </a:t>
            </a:r>
            <a:r>
              <a:rPr lang="de-DE" sz="1500" err="1"/>
              <a:t>to</a:t>
            </a:r>
            <a:br>
              <a:rPr lang="de-DE" sz="1500"/>
            </a:br>
            <a:r>
              <a:rPr lang="de-DE" sz="1500" err="1"/>
              <a:t>register</a:t>
            </a:r>
            <a:r>
              <a:rPr lang="de-DE" sz="1500"/>
              <a:t> </a:t>
            </a:r>
            <a:r>
              <a:rPr lang="de-DE" sz="1500" err="1"/>
              <a:t>again</a:t>
            </a:r>
            <a:endParaRPr lang="de-DE" sz="1500">
              <a:cs typeface="Arial"/>
            </a:endParaRPr>
          </a:p>
          <a:p>
            <a:pPr marL="0" indent="0" algn="ctr">
              <a:buNone/>
            </a:pPr>
            <a:r>
              <a:rPr lang="de-DE" sz="1125"/>
              <a:t>User </a:t>
            </a:r>
            <a:r>
              <a:rPr lang="de-DE" sz="1125" err="1"/>
              <a:t>logins</a:t>
            </a:r>
            <a:r>
              <a:rPr lang="de-DE" sz="1125"/>
              <a:t> in </a:t>
            </a:r>
            <a:r>
              <a:rPr lang="de-DE" sz="1125" err="1"/>
              <a:t>with</a:t>
            </a:r>
            <a:r>
              <a:rPr lang="de-DE" sz="1125"/>
              <a:t> </a:t>
            </a:r>
            <a:r>
              <a:rPr lang="de-DE" sz="1125" err="1"/>
              <a:t>his</a:t>
            </a:r>
            <a:r>
              <a:rPr lang="de-DE" sz="1125"/>
              <a:t> </a:t>
            </a:r>
            <a:r>
              <a:rPr lang="de-DE" sz="1125" err="1"/>
              <a:t>credentials</a:t>
            </a:r>
            <a:r>
              <a:rPr lang="de-DE" sz="1125"/>
              <a:t> </a:t>
            </a:r>
            <a:r>
              <a:rPr lang="de-DE" sz="1125" err="1"/>
              <a:t>or</a:t>
            </a:r>
            <a:r>
              <a:rPr lang="de-DE" sz="1125"/>
              <a:t> </a:t>
            </a:r>
            <a:r>
              <a:rPr lang="de-DE" sz="1125" err="1"/>
              <a:t>uses</a:t>
            </a:r>
            <a:r>
              <a:rPr lang="de-DE" sz="1125"/>
              <a:t> </a:t>
            </a:r>
            <a:r>
              <a:rPr lang="de-DE" sz="1125" err="1"/>
              <a:t>the</a:t>
            </a:r>
            <a:r>
              <a:rPr lang="de-DE" sz="1125"/>
              <a:t> </a:t>
            </a:r>
            <a:r>
              <a:rPr lang="de-DE" sz="1125" err="1"/>
              <a:t>forgotten</a:t>
            </a:r>
            <a:r>
              <a:rPr lang="de-DE" sz="1125"/>
              <a:t> </a:t>
            </a:r>
            <a:r>
              <a:rPr lang="de-DE" sz="1125" err="1"/>
              <a:t>password</a:t>
            </a:r>
            <a:r>
              <a:rPr lang="de-DE" sz="1125"/>
              <a:t> feature</a:t>
            </a:r>
            <a:endParaRPr lang="de-DE" sz="1125">
              <a:cs typeface="Arial"/>
            </a:endParaRPr>
          </a:p>
          <a:p>
            <a:pPr marL="0" indent="0">
              <a:buNone/>
            </a:pPr>
            <a:r>
              <a:rPr lang="de-DE" sz="1800"/>
              <a:t> </a:t>
            </a:r>
            <a:endParaRPr lang="de-DE" sz="1800">
              <a:cs typeface="Arial"/>
            </a:endParaRPr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49F90A92-ABF7-AC34-B148-49657DCB7BF1}"/>
              </a:ext>
            </a:extLst>
          </p:cNvPr>
          <p:cNvSpPr txBox="1">
            <a:spLocks/>
          </p:cNvSpPr>
          <p:nvPr/>
        </p:nvSpPr>
        <p:spPr>
          <a:xfrm>
            <a:off x="4601057" y="1072250"/>
            <a:ext cx="2096957" cy="12090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383990" indent="-38399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FF6C00"/>
              </a:buClr>
              <a:buFont typeface="Arial" panose="020B0604020202020204" pitchFamily="34" charset="0"/>
              <a:buChar char="•"/>
              <a:tabLst>
                <a:tab pos="355591" algn="l"/>
              </a:tabLst>
              <a:defRPr lang="nl-NL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3984" indent="-2399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800"/>
              </a:spcAft>
              <a:buClr>
                <a:srgbClr val="FF6C00"/>
              </a:buClr>
              <a:buFont typeface="Arial" panose="020B0604020202020204" pitchFamily="34" charset="0"/>
              <a:buChar char="−"/>
              <a:defRPr lang="nl-NL"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78" indent="-2399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8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nl-NL"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03972" indent="-2399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8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nl-NL"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3966" indent="-2399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8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de-DE"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12940" indent="-26034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9482" indent="-23494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11422" indent="-243411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4897" indent="-237061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sz="1500"/>
              <a:t>User </a:t>
            </a:r>
            <a:r>
              <a:rPr lang="de-DE" sz="1500" err="1"/>
              <a:t>used</a:t>
            </a:r>
            <a:r>
              <a:rPr lang="de-DE" sz="1500"/>
              <a:t> </a:t>
            </a:r>
            <a:r>
              <a:rPr lang="de-DE" sz="1500" err="1"/>
              <a:t>wrong</a:t>
            </a:r>
            <a:r>
              <a:rPr lang="de-DE" sz="1500"/>
              <a:t> </a:t>
            </a:r>
            <a:r>
              <a:rPr lang="de-DE" sz="1500" err="1"/>
              <a:t>user</a:t>
            </a:r>
            <a:r>
              <a:rPr lang="de-DE" sz="1500"/>
              <a:t> </a:t>
            </a:r>
            <a:r>
              <a:rPr lang="de-DE" sz="1500" err="1"/>
              <a:t>name</a:t>
            </a:r>
            <a:r>
              <a:rPr lang="de-DE" sz="1500"/>
              <a:t>/</a:t>
            </a:r>
            <a:r>
              <a:rPr lang="de-DE" sz="1500" err="1"/>
              <a:t>password</a:t>
            </a:r>
            <a:endParaRPr lang="de-DE" sz="1500">
              <a:cs typeface="Arial" panose="020B0604020202020204"/>
            </a:endParaRPr>
          </a:p>
          <a:p>
            <a:pPr marL="0" indent="0" algn="ctr">
              <a:buNone/>
            </a:pPr>
            <a:r>
              <a:rPr lang="de-DE" sz="1125"/>
              <a:t>User </a:t>
            </a:r>
            <a:r>
              <a:rPr lang="de-DE" sz="1125" err="1"/>
              <a:t>re-enters</a:t>
            </a:r>
            <a:r>
              <a:rPr lang="de-DE" sz="1125"/>
              <a:t> </a:t>
            </a:r>
            <a:r>
              <a:rPr lang="de-DE" sz="1125" err="1"/>
              <a:t>the</a:t>
            </a:r>
            <a:r>
              <a:rPr lang="de-DE" sz="1125"/>
              <a:t> </a:t>
            </a:r>
            <a:r>
              <a:rPr lang="de-DE" sz="1125" err="1"/>
              <a:t>credentials</a:t>
            </a:r>
            <a:r>
              <a:rPr lang="de-DE" sz="1125"/>
              <a:t> </a:t>
            </a:r>
            <a:r>
              <a:rPr lang="de-DE" sz="1125" err="1"/>
              <a:t>or</a:t>
            </a:r>
            <a:r>
              <a:rPr lang="de-DE" sz="1125"/>
              <a:t> </a:t>
            </a:r>
            <a:r>
              <a:rPr lang="de-DE" sz="1125" err="1"/>
              <a:t>uses</a:t>
            </a:r>
            <a:r>
              <a:rPr lang="de-DE" sz="1125"/>
              <a:t> </a:t>
            </a:r>
            <a:r>
              <a:rPr lang="de-DE" sz="1125" err="1"/>
              <a:t>the</a:t>
            </a:r>
            <a:r>
              <a:rPr lang="de-DE" sz="1125"/>
              <a:t> </a:t>
            </a:r>
            <a:r>
              <a:rPr lang="de-DE" sz="1125" err="1"/>
              <a:t>forgotten</a:t>
            </a:r>
            <a:r>
              <a:rPr lang="de-DE" sz="1125"/>
              <a:t> </a:t>
            </a:r>
            <a:r>
              <a:rPr lang="de-DE" sz="1125" err="1"/>
              <a:t>password</a:t>
            </a:r>
            <a:r>
              <a:rPr lang="de-DE" sz="1125"/>
              <a:t> feature</a:t>
            </a:r>
            <a:endParaRPr lang="de-DE" sz="1125">
              <a:cs typeface="Arial"/>
            </a:endParaRPr>
          </a:p>
        </p:txBody>
      </p:sp>
      <p:pic>
        <p:nvPicPr>
          <p:cNvPr id="10" name="Picture 9" descr="A screenshot of a login form&#10;&#10;Description automatically generated">
            <a:extLst>
              <a:ext uri="{FF2B5EF4-FFF2-40B4-BE49-F238E27FC236}">
                <a16:creationId xmlns:a16="http://schemas.microsoft.com/office/drawing/2014/main" id="{8E41ECC1-FCBC-BB2F-709C-462EFD38E5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760" y="2281282"/>
            <a:ext cx="1564392" cy="255912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4E1D5C2-B233-086B-408D-474400A754FA}"/>
              </a:ext>
            </a:extLst>
          </p:cNvPr>
          <p:cNvSpPr txBox="1"/>
          <p:nvPr/>
        </p:nvSpPr>
        <p:spPr>
          <a:xfrm>
            <a:off x="169829" y="1047368"/>
            <a:ext cx="2118824" cy="9925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350">
                <a:solidFill>
                  <a:srgbClr val="53565A"/>
                </a:solidFill>
                <a:latin typeface="Arial"/>
              </a:rPr>
              <a:t>User </a:t>
            </a:r>
            <a:r>
              <a:rPr lang="de-DE" sz="1350" err="1">
                <a:solidFill>
                  <a:srgbClr val="53565A"/>
                </a:solidFill>
                <a:latin typeface="Arial"/>
              </a:rPr>
              <a:t>forgets</a:t>
            </a:r>
            <a:r>
              <a:rPr lang="de-DE" sz="1350">
                <a:solidFill>
                  <a:srgbClr val="53565A"/>
                </a:solidFill>
                <a:latin typeface="Arial"/>
              </a:rPr>
              <a:t> </a:t>
            </a:r>
            <a:r>
              <a:rPr lang="de-DE" sz="1350" err="1">
                <a:solidFill>
                  <a:srgbClr val="53565A"/>
                </a:solidFill>
                <a:latin typeface="Arial"/>
              </a:rPr>
              <a:t>to</a:t>
            </a:r>
            <a:r>
              <a:rPr lang="de-DE" sz="1350">
                <a:solidFill>
                  <a:srgbClr val="53565A"/>
                </a:solidFill>
                <a:latin typeface="Arial"/>
              </a:rPr>
              <a:t> </a:t>
            </a:r>
            <a:r>
              <a:rPr lang="de-DE" sz="1350" err="1">
                <a:solidFill>
                  <a:srgbClr val="53565A"/>
                </a:solidFill>
                <a:latin typeface="Arial"/>
              </a:rPr>
              <a:t>click</a:t>
            </a:r>
            <a:r>
              <a:rPr lang="de-DE" sz="1350">
                <a:solidFill>
                  <a:srgbClr val="53565A"/>
                </a:solidFill>
                <a:latin typeface="Arial"/>
              </a:rPr>
              <a:t> on </a:t>
            </a:r>
            <a:r>
              <a:rPr lang="de-DE" sz="1350" err="1">
                <a:solidFill>
                  <a:srgbClr val="53565A"/>
                </a:solidFill>
                <a:latin typeface="Arial"/>
              </a:rPr>
              <a:t>user</a:t>
            </a:r>
            <a:r>
              <a:rPr lang="de-DE" sz="1350">
                <a:solidFill>
                  <a:srgbClr val="53565A"/>
                </a:solidFill>
                <a:latin typeface="Arial"/>
              </a:rPr>
              <a:t> </a:t>
            </a:r>
            <a:r>
              <a:rPr lang="de-DE" sz="1350" err="1">
                <a:solidFill>
                  <a:srgbClr val="53565A"/>
                </a:solidFill>
                <a:latin typeface="Arial"/>
              </a:rPr>
              <a:t>agreement</a:t>
            </a:r>
            <a:r>
              <a:rPr lang="de-DE" sz="1350">
                <a:solidFill>
                  <a:srgbClr val="53565A"/>
                </a:solidFill>
                <a:latin typeface="Arial"/>
              </a:rPr>
              <a:t> </a:t>
            </a:r>
            <a:r>
              <a:rPr lang="de-DE" sz="1350" err="1">
                <a:solidFill>
                  <a:srgbClr val="53565A"/>
                </a:solidFill>
                <a:latin typeface="Arial"/>
              </a:rPr>
              <a:t>terms</a:t>
            </a:r>
            <a:endParaRPr lang="de-DE" sz="1350">
              <a:solidFill>
                <a:srgbClr val="53565A"/>
              </a:solidFill>
              <a:latin typeface="Arial"/>
              <a:cs typeface="Arial"/>
            </a:endParaRPr>
          </a:p>
          <a:p>
            <a:pPr algn="ctr"/>
            <a:endParaRPr lang="de-DE" sz="1050">
              <a:solidFill>
                <a:srgbClr val="53565A"/>
              </a:solidFill>
              <a:latin typeface="Arial"/>
              <a:cs typeface="Arial"/>
            </a:endParaRPr>
          </a:p>
          <a:p>
            <a:pPr algn="ctr"/>
            <a:r>
              <a:rPr lang="de-DE" sz="1050">
                <a:solidFill>
                  <a:srgbClr val="53565A"/>
                </a:solidFill>
                <a:cs typeface="Arial"/>
              </a:rPr>
              <a:t>User </a:t>
            </a:r>
            <a:r>
              <a:rPr lang="de-DE" sz="1050" err="1">
                <a:solidFill>
                  <a:srgbClr val="53565A"/>
                </a:solidFill>
                <a:cs typeface="Arial"/>
              </a:rPr>
              <a:t>selects</a:t>
            </a:r>
            <a:r>
              <a:rPr lang="de-DE" sz="1050">
                <a:solidFill>
                  <a:srgbClr val="53565A"/>
                </a:solidFill>
                <a:cs typeface="Arial"/>
              </a:rPr>
              <a:t> </a:t>
            </a:r>
            <a:r>
              <a:rPr lang="de-DE" sz="1050" err="1">
                <a:solidFill>
                  <a:srgbClr val="53565A"/>
                </a:solidFill>
                <a:cs typeface="Arial"/>
              </a:rPr>
              <a:t>the</a:t>
            </a:r>
            <a:r>
              <a:rPr lang="de-DE" sz="1050">
                <a:solidFill>
                  <a:srgbClr val="53565A"/>
                </a:solidFill>
                <a:cs typeface="Arial"/>
              </a:rPr>
              <a:t> </a:t>
            </a:r>
            <a:r>
              <a:rPr lang="de-DE" sz="1050" err="1">
                <a:solidFill>
                  <a:srgbClr val="53565A"/>
                </a:solidFill>
                <a:cs typeface="Arial"/>
              </a:rPr>
              <a:t>according</a:t>
            </a:r>
            <a:r>
              <a:rPr lang="de-DE" sz="1050">
                <a:solidFill>
                  <a:srgbClr val="53565A"/>
                </a:solidFill>
                <a:cs typeface="Arial"/>
              </a:rPr>
              <a:t> </a:t>
            </a:r>
            <a:r>
              <a:rPr lang="de-DE" sz="1050" err="1">
                <a:solidFill>
                  <a:srgbClr val="53565A"/>
                </a:solidFill>
                <a:cs typeface="Arial"/>
              </a:rPr>
              <a:t>checkbox</a:t>
            </a:r>
            <a:endParaRPr lang="de-DE" sz="1350"/>
          </a:p>
        </p:txBody>
      </p:sp>
      <p:pic>
        <p:nvPicPr>
          <p:cNvPr id="17" name="Picture 16" descr="A screenshot of a computer&#10;&#10;Description automatically generated">
            <a:extLst>
              <a:ext uri="{FF2B5EF4-FFF2-40B4-BE49-F238E27FC236}">
                <a16:creationId xmlns:a16="http://schemas.microsoft.com/office/drawing/2014/main" id="{5F795621-7E07-2609-FFE6-2AD41D7F5C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3224" y="2563782"/>
            <a:ext cx="2020520" cy="828034"/>
          </a:xfrm>
          <a:prstGeom prst="rect">
            <a:avLst/>
          </a:prstGeom>
        </p:spPr>
      </p:pic>
      <p:pic>
        <p:nvPicPr>
          <p:cNvPr id="23" name="Picture 22" descr="A screenshot of a login form&#10;&#10;Description automatically generated">
            <a:extLst>
              <a:ext uri="{FF2B5EF4-FFF2-40B4-BE49-F238E27FC236}">
                <a16:creationId xmlns:a16="http://schemas.microsoft.com/office/drawing/2014/main" id="{360666F7-6AB5-5B00-056F-BB54A9E2F25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3293" y="2281282"/>
            <a:ext cx="1632484" cy="2559126"/>
          </a:xfrm>
          <a:prstGeom prst="rect">
            <a:avLst/>
          </a:prstGeom>
        </p:spPr>
      </p:pic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4F78CA09-5253-A0EA-2619-D925DF54905D}"/>
              </a:ext>
            </a:extLst>
          </p:cNvPr>
          <p:cNvSpPr/>
          <p:nvPr/>
        </p:nvSpPr>
        <p:spPr>
          <a:xfrm>
            <a:off x="555579" y="4071857"/>
            <a:ext cx="1347324" cy="127450"/>
          </a:xfrm>
          <a:prstGeom prst="roundRect">
            <a:avLst/>
          </a:prstGeom>
          <a:solidFill>
            <a:srgbClr val="BE1922">
              <a:alpha val="9738"/>
            </a:srgbClr>
          </a:solidFill>
          <a:ln>
            <a:solidFill>
              <a:srgbClr val="BE1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920398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lsevier Light">
  <a:themeElements>
    <a:clrScheme name="NEW BRAND COLOURS">
      <a:dk1>
        <a:srgbClr val="544946"/>
      </a:dk1>
      <a:lt1>
        <a:srgbClr val="FFFFFF"/>
      </a:lt1>
      <a:dk2>
        <a:srgbClr val="1E1E1E"/>
      </a:dk2>
      <a:lt2>
        <a:srgbClr val="F5F4ED"/>
      </a:lt2>
      <a:accent1>
        <a:srgbClr val="F9541C"/>
      </a:accent1>
      <a:accent2>
        <a:srgbClr val="602398"/>
      </a:accent2>
      <a:accent3>
        <a:srgbClr val="2854FD"/>
      </a:accent3>
      <a:accent4>
        <a:srgbClr val="23C551"/>
      </a:accent4>
      <a:accent5>
        <a:srgbClr val="FBB200"/>
      </a:accent5>
      <a:accent6>
        <a:srgbClr val="00008A"/>
      </a:accent6>
      <a:hlink>
        <a:srgbClr val="2854FE"/>
      </a:hlink>
      <a:folHlink>
        <a:srgbClr val="602498"/>
      </a:folHlink>
    </a:clrScheme>
    <a:fontScheme name="Elsevier_Fo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lt1"/>
        </a:solidFill>
        <a:ln w="12700"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lt1"/>
        </a:lnRef>
        <a:fillRef idx="1">
          <a:schemeClr val="lt1"/>
        </a:fillRef>
        <a:effectRef idx="0">
          <a:schemeClr val="lt1"/>
        </a:effectRef>
        <a:fontRef idx="minor">
          <a:schemeClr val="bg2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>
          <a:solidFill>
            <a:schemeClr val="tx2"/>
          </a:solidFill>
        </a:ln>
      </a:spPr>
      <a:bodyPr wrap="square" lIns="0" tIns="0" rIns="0" bIns="0" rtlCol="0">
        <a:spAutoFit/>
      </a:bodyPr>
      <a:lstStyle>
        <a:defPPr algn="l">
          <a:defRPr sz="1600" dirty="0" smtClean="0"/>
        </a:defPPr>
      </a:lstStyle>
    </a:txDef>
  </a:objectDefaults>
  <a:extraClrSchemeLst/>
  <a:custClrLst>
    <a:custClr name="Vital Orange">
      <a:srgbClr val="FF551D"/>
    </a:custClr>
    <a:custClr name="Purple">
      <a:srgbClr val="9B51E0"/>
    </a:custClr>
    <a:custClr name="Blue">
      <a:srgbClr val="0054F7"/>
    </a:custClr>
    <a:custClr name="Green">
      <a:srgbClr val="00C853"/>
    </a:custClr>
    <a:custClr name="Yellow">
      <a:srgbClr val="FFB200"/>
    </a:custClr>
    <a:custClr name="Deep Ocean">
      <a:srgbClr val="00008B"/>
    </a:custClr>
    <a:custClr name="Crimson">
      <a:srgbClr val="DC143C"/>
    </a:custClr>
    <a:custClr name="Teal">
      <a:srgbClr val="009688"/>
    </a:custClr>
    <a:custClr name="Muted Blue">
      <a:srgbClr val="4682B4"/>
    </a:custClr>
    <a:custClr name="Action Blue">
      <a:srgbClr val="2354FF"/>
    </a:custClr>
    <a:custClr name="Orange 2">
      <a:srgbClr val="FFA76C"/>
    </a:custClr>
    <a:custClr name="Purple 2">
      <a:srgbClr val="DBC5F7"/>
    </a:custClr>
    <a:custClr name="Blue 2">
      <a:srgbClr val="B2DDF1"/>
    </a:custClr>
    <a:custClr name="Green 2">
      <a:srgbClr val="ADEDC8"/>
    </a:custClr>
    <a:custClr name="Yellow 2">
      <a:srgbClr val="FFD98E"/>
    </a:custClr>
    <a:custClr name="Ocean Blue 2">
      <a:srgbClr val="5D77C1"/>
    </a:custClr>
    <a:custClr name="Crimson 2">
      <a:srgbClr val="FA9EB0"/>
    </a:custClr>
    <a:custClr name="Teal 2">
      <a:srgbClr val="77CFCA"/>
    </a:custClr>
    <a:custClr name="Muted Blue 2">
      <a:srgbClr val="82B9C8"/>
    </a:custClr>
    <a:custClr name="Ivory">
      <a:srgbClr val="E1DFDB"/>
    </a:custClr>
    <a:custClr name="Orange 3">
      <a:srgbClr val="B23A00"/>
    </a:custClr>
    <a:custClr name="Purple 3">
      <a:srgbClr val="61259B"/>
    </a:custClr>
    <a:custClr name="Blue 3">
      <a:srgbClr val="003D8B"/>
    </a:custClr>
    <a:custClr name="Green 3">
      <a:srgbClr val="006633"/>
    </a:custClr>
    <a:custClr name="Yellow 3">
      <a:srgbClr val="996900"/>
    </a:custClr>
    <a:custClr name="Ocean Blue 3">
      <a:srgbClr val="100C6B"/>
    </a:custClr>
    <a:custClr name="Crimson 3">
      <a:srgbClr val="8B0000"/>
    </a:custClr>
    <a:custClr name="Teal 3">
      <a:srgbClr val="004D4B"/>
    </a:custClr>
    <a:custClr name="Muted Blue 3">
      <a:srgbClr val="175990"/>
    </a:custClr>
    <a:custClr name="Sand">
      <a:srgbClr val="EAE3D2"/>
    </a:custClr>
    <a:custClr name="Orange 4">
      <a:srgbClr val="FF551D"/>
    </a:custClr>
    <a:custClr name="Orange 5">
      <a:srgbClr val="FFD8B8"/>
    </a:custClr>
    <a:custClr name="Orange 6">
      <a:srgbClr val="FFA76C"/>
    </a:custClr>
    <a:custClr name="Orange 7">
      <a:srgbClr val="D94800"/>
    </a:custClr>
    <a:custClr name="Orange 8">
      <a:srgbClr val="B23A00"/>
    </a:custClr>
    <a:custClr name="Orange 9">
      <a:srgbClr val="8B2C00"/>
    </a:custClr>
  </a:custClrLst>
  <a:extLst>
    <a:ext uri="{05A4C25C-085E-4340-85A3-A5531E510DB2}">
      <thm15:themeFamily xmlns:thm15="http://schemas.microsoft.com/office/thememl/2012/main" name="Elsevier Master Template" id="{75F9A733-CD2D-694A-AAB2-D174026F0E1A}" vid="{0828F1B5-5653-9A41-8E64-599FBDA0E779}"/>
    </a:ext>
  </a:extLst>
</a:theme>
</file>

<file path=ppt/theme/theme2.xml><?xml version="1.0" encoding="utf-8"?>
<a:theme xmlns:a="http://schemas.openxmlformats.org/drawingml/2006/main" name="Elsevier Dark">
  <a:themeElements>
    <a:clrScheme name="NEW BRAND COLOURS">
      <a:dk1>
        <a:srgbClr val="544946"/>
      </a:dk1>
      <a:lt1>
        <a:srgbClr val="FFFFFF"/>
      </a:lt1>
      <a:dk2>
        <a:srgbClr val="1E1E1E"/>
      </a:dk2>
      <a:lt2>
        <a:srgbClr val="F5F4ED"/>
      </a:lt2>
      <a:accent1>
        <a:srgbClr val="F9541C"/>
      </a:accent1>
      <a:accent2>
        <a:srgbClr val="602398"/>
      </a:accent2>
      <a:accent3>
        <a:srgbClr val="2854FD"/>
      </a:accent3>
      <a:accent4>
        <a:srgbClr val="23C551"/>
      </a:accent4>
      <a:accent5>
        <a:srgbClr val="FBB200"/>
      </a:accent5>
      <a:accent6>
        <a:srgbClr val="00008A"/>
      </a:accent6>
      <a:hlink>
        <a:srgbClr val="2854FE"/>
      </a:hlink>
      <a:folHlink>
        <a:srgbClr val="602498"/>
      </a:folHlink>
    </a:clrScheme>
    <a:fontScheme name="Elsevier_Fo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lt1"/>
        </a:solidFill>
        <a:ln w="12700"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lt1"/>
        </a:lnRef>
        <a:fillRef idx="1">
          <a:schemeClr val="lt1"/>
        </a:fillRef>
        <a:effectRef idx="0">
          <a:schemeClr val="lt1"/>
        </a:effectRef>
        <a:fontRef idx="minor">
          <a:schemeClr val="bg2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>
          <a:solidFill>
            <a:schemeClr val="tx2"/>
          </a:solidFill>
        </a:ln>
      </a:spPr>
      <a:bodyPr wrap="square" lIns="0" tIns="0" rIns="0" bIns="0" rtlCol="0">
        <a:spAutoFit/>
      </a:bodyPr>
      <a:lstStyle>
        <a:defPPr algn="l">
          <a:defRPr sz="1600" dirty="0" smtClean="0"/>
        </a:defPPr>
      </a:lstStyle>
    </a:txDef>
  </a:objectDefaults>
  <a:extraClrSchemeLst/>
  <a:custClrLst>
    <a:custClr name="Vital Orange">
      <a:srgbClr val="FF551D"/>
    </a:custClr>
    <a:custClr name="Purple">
      <a:srgbClr val="9B51E0"/>
    </a:custClr>
    <a:custClr name="Blue">
      <a:srgbClr val="0054F7"/>
    </a:custClr>
    <a:custClr name="Green">
      <a:srgbClr val="00C853"/>
    </a:custClr>
    <a:custClr name="Yellow">
      <a:srgbClr val="FFB200"/>
    </a:custClr>
    <a:custClr name="Deep Ocean">
      <a:srgbClr val="00008B"/>
    </a:custClr>
    <a:custClr name="Crimson">
      <a:srgbClr val="DC143C"/>
    </a:custClr>
    <a:custClr name="Teal">
      <a:srgbClr val="009688"/>
    </a:custClr>
    <a:custClr name="Muted Blue">
      <a:srgbClr val="4682B4"/>
    </a:custClr>
    <a:custClr name="Action Blue">
      <a:srgbClr val="2354FF"/>
    </a:custClr>
    <a:custClr name="Orange 2">
      <a:srgbClr val="FFA76C"/>
    </a:custClr>
    <a:custClr name="Purple 2">
      <a:srgbClr val="DBC5F7"/>
    </a:custClr>
    <a:custClr name="Blue 2">
      <a:srgbClr val="B2DDF1"/>
    </a:custClr>
    <a:custClr name="Green 2">
      <a:srgbClr val="ADEDC8"/>
    </a:custClr>
    <a:custClr name="Yellow 2">
      <a:srgbClr val="FFD98E"/>
    </a:custClr>
    <a:custClr name="Ocean Blue 2">
      <a:srgbClr val="5D77C1"/>
    </a:custClr>
    <a:custClr name="Crimson 2">
      <a:srgbClr val="FA9EB0"/>
    </a:custClr>
    <a:custClr name="Teal 2">
      <a:srgbClr val="77CFCA"/>
    </a:custClr>
    <a:custClr name="Muted Blue 2">
      <a:srgbClr val="82B9C8"/>
    </a:custClr>
    <a:custClr name="Ivory">
      <a:srgbClr val="E1DFDB"/>
    </a:custClr>
    <a:custClr name="Orange 3">
      <a:srgbClr val="B23A00"/>
    </a:custClr>
    <a:custClr name="Purple 3">
      <a:srgbClr val="61259B"/>
    </a:custClr>
    <a:custClr name="Blue 3">
      <a:srgbClr val="003D8B"/>
    </a:custClr>
    <a:custClr name="Green 3">
      <a:srgbClr val="006633"/>
    </a:custClr>
    <a:custClr name="Yellow 3">
      <a:srgbClr val="996900"/>
    </a:custClr>
    <a:custClr name="Ocean Blue 3">
      <a:srgbClr val="100C6B"/>
    </a:custClr>
    <a:custClr name="Crimson 3">
      <a:srgbClr val="8B0000"/>
    </a:custClr>
    <a:custClr name="Teal 3">
      <a:srgbClr val="004D4B"/>
    </a:custClr>
    <a:custClr name="Muted Blue 3">
      <a:srgbClr val="175990"/>
    </a:custClr>
    <a:custClr name="Sand">
      <a:srgbClr val="EAE3D2"/>
    </a:custClr>
    <a:custClr name="Orange 4">
      <a:srgbClr val="FF551D"/>
    </a:custClr>
    <a:custClr name="Orange 5">
      <a:srgbClr val="FFD8B8"/>
    </a:custClr>
    <a:custClr name="Orange 6">
      <a:srgbClr val="FFA76C"/>
    </a:custClr>
    <a:custClr name="Orange 7">
      <a:srgbClr val="D94800"/>
    </a:custClr>
    <a:custClr name="Orange 8">
      <a:srgbClr val="B23A00"/>
    </a:custClr>
    <a:custClr name="Orange 9">
      <a:srgbClr val="8B2C00"/>
    </a:custClr>
  </a:custClrLst>
  <a:extLst>
    <a:ext uri="{05A4C25C-085E-4340-85A3-A5531E510DB2}">
      <thm15:themeFamily xmlns:thm15="http://schemas.microsoft.com/office/thememl/2012/main" name="Elsevier Master Template" id="{75F9A733-CD2D-694A-AAB2-D174026F0E1A}" vid="{FB4009DF-3E1E-EA45-B992-52959E5762A6}"/>
    </a:ext>
  </a:extLst>
</a:theme>
</file>

<file path=ppt/theme/theme3.xml><?xml version="1.0" encoding="utf-8"?>
<a:theme xmlns:a="http://schemas.openxmlformats.org/drawingml/2006/main" name="1_Elsevier Light">
  <a:themeElements>
    <a:clrScheme name="NEW BRAND COLOURS">
      <a:dk1>
        <a:srgbClr val="544946"/>
      </a:dk1>
      <a:lt1>
        <a:srgbClr val="FFFFFF"/>
      </a:lt1>
      <a:dk2>
        <a:srgbClr val="1E1E1E"/>
      </a:dk2>
      <a:lt2>
        <a:srgbClr val="F5F4ED"/>
      </a:lt2>
      <a:accent1>
        <a:srgbClr val="F9541C"/>
      </a:accent1>
      <a:accent2>
        <a:srgbClr val="602398"/>
      </a:accent2>
      <a:accent3>
        <a:srgbClr val="2854FD"/>
      </a:accent3>
      <a:accent4>
        <a:srgbClr val="23C551"/>
      </a:accent4>
      <a:accent5>
        <a:srgbClr val="FBB200"/>
      </a:accent5>
      <a:accent6>
        <a:srgbClr val="00008A"/>
      </a:accent6>
      <a:hlink>
        <a:srgbClr val="2854FE"/>
      </a:hlink>
      <a:folHlink>
        <a:srgbClr val="602498"/>
      </a:folHlink>
    </a:clrScheme>
    <a:fontScheme name="Elsevier_Fo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lt1"/>
        </a:solidFill>
        <a:ln w="12700"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lt1"/>
        </a:lnRef>
        <a:fillRef idx="1">
          <a:schemeClr val="lt1"/>
        </a:fillRef>
        <a:effectRef idx="0">
          <a:schemeClr val="lt1"/>
        </a:effectRef>
        <a:fontRef idx="minor">
          <a:schemeClr val="bg2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>
          <a:solidFill>
            <a:schemeClr val="tx2"/>
          </a:solidFill>
        </a:ln>
      </a:spPr>
      <a:bodyPr wrap="square" lIns="0" tIns="0" rIns="0" bIns="0" rtlCol="0">
        <a:spAutoFit/>
      </a:bodyPr>
      <a:lstStyle>
        <a:defPPr algn="l">
          <a:defRPr sz="1600" dirty="0" smtClean="0"/>
        </a:defPPr>
      </a:lstStyle>
    </a:txDef>
  </a:objectDefaults>
  <a:extraClrSchemeLst/>
  <a:custClrLst>
    <a:custClr name="Vital Orange">
      <a:srgbClr val="FF551D"/>
    </a:custClr>
    <a:custClr name="Purple">
      <a:srgbClr val="9B51E0"/>
    </a:custClr>
    <a:custClr name="Blue">
      <a:srgbClr val="0054F7"/>
    </a:custClr>
    <a:custClr name="Green">
      <a:srgbClr val="00C853"/>
    </a:custClr>
    <a:custClr name="Yellow">
      <a:srgbClr val="FFB200"/>
    </a:custClr>
    <a:custClr name="Deep Ocean">
      <a:srgbClr val="00008B"/>
    </a:custClr>
    <a:custClr name="Crimson">
      <a:srgbClr val="DC143C"/>
    </a:custClr>
    <a:custClr name="Teal">
      <a:srgbClr val="009688"/>
    </a:custClr>
    <a:custClr name="Muted Blue">
      <a:srgbClr val="4682B4"/>
    </a:custClr>
    <a:custClr name="Action Blue">
      <a:srgbClr val="2354FF"/>
    </a:custClr>
    <a:custClr name="Orange 2">
      <a:srgbClr val="FFA76C"/>
    </a:custClr>
    <a:custClr name="Purple 2">
      <a:srgbClr val="DBC5F7"/>
    </a:custClr>
    <a:custClr name="Blue 2">
      <a:srgbClr val="B2DDF1"/>
    </a:custClr>
    <a:custClr name="Green 2">
      <a:srgbClr val="ADEDC8"/>
    </a:custClr>
    <a:custClr name="Yellow 2">
      <a:srgbClr val="FFD98E"/>
    </a:custClr>
    <a:custClr name="Ocean Blue 2">
      <a:srgbClr val="5D77C1"/>
    </a:custClr>
    <a:custClr name="Crimson 2">
      <a:srgbClr val="FA9EB0"/>
    </a:custClr>
    <a:custClr name="Teal 2">
      <a:srgbClr val="77CFCA"/>
    </a:custClr>
    <a:custClr name="Muted Blue 2">
      <a:srgbClr val="82B9C8"/>
    </a:custClr>
    <a:custClr name="Ivory">
      <a:srgbClr val="E1DFDB"/>
    </a:custClr>
    <a:custClr name="Orange 3">
      <a:srgbClr val="B23A00"/>
    </a:custClr>
    <a:custClr name="Purple 3">
      <a:srgbClr val="61259B"/>
    </a:custClr>
    <a:custClr name="Blue 3">
      <a:srgbClr val="003D8B"/>
    </a:custClr>
    <a:custClr name="Green 3">
      <a:srgbClr val="006633"/>
    </a:custClr>
    <a:custClr name="Yellow 3">
      <a:srgbClr val="996900"/>
    </a:custClr>
    <a:custClr name="Ocean Blue 3">
      <a:srgbClr val="100C6B"/>
    </a:custClr>
    <a:custClr name="Crimson 3">
      <a:srgbClr val="8B0000"/>
    </a:custClr>
    <a:custClr name="Teal 3">
      <a:srgbClr val="004D4B"/>
    </a:custClr>
    <a:custClr name="Muted Blue 3">
      <a:srgbClr val="175990"/>
    </a:custClr>
    <a:custClr name="Sand">
      <a:srgbClr val="EAE3D2"/>
    </a:custClr>
    <a:custClr name="Orange 4">
      <a:srgbClr val="FF551D"/>
    </a:custClr>
    <a:custClr name="Orange 5">
      <a:srgbClr val="FFD8B8"/>
    </a:custClr>
    <a:custClr name="Orange 6">
      <a:srgbClr val="FFA76C"/>
    </a:custClr>
    <a:custClr name="Orange 7">
      <a:srgbClr val="D94800"/>
    </a:custClr>
    <a:custClr name="Orange 8">
      <a:srgbClr val="B23A00"/>
    </a:custClr>
    <a:custClr name="Orange 9">
      <a:srgbClr val="8B2C00"/>
    </a:custClr>
  </a:custClrLst>
  <a:extLst>
    <a:ext uri="{05A4C25C-085E-4340-85A3-A5531E510DB2}">
      <thm15:themeFamily xmlns:thm15="http://schemas.microsoft.com/office/thememl/2012/main" name="Elsevier Master Template" id="{CF780C9E-93A1-EC44-9BD8-980A3C276FFC}" vid="{518536D1-2308-2D4C-B77E-15681166E221}"/>
    </a:ext>
  </a:extLst>
</a:theme>
</file>

<file path=ppt/theme/theme4.xml><?xml version="1.0" encoding="utf-8"?>
<a:theme xmlns:a="http://schemas.openxmlformats.org/drawingml/2006/main" name="3_Elsevier light">
  <a:themeElements>
    <a:clrScheme name="Elsevier2_0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679E0"/>
      </a:accent1>
      <a:accent2>
        <a:srgbClr val="EB6500"/>
      </a:accent2>
      <a:accent3>
        <a:srgbClr val="8E8E8E"/>
      </a:accent3>
      <a:accent4>
        <a:srgbClr val="CDE4FF"/>
      </a:accent4>
      <a:accent5>
        <a:srgbClr val="FFF0E4"/>
      </a:accent5>
      <a:accent6>
        <a:srgbClr val="DCDCDC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FD9B95B7-7997-4FB9-A47B-A8D416D981DD}"/>
    </a:ext>
  </a:extLst>
</a:theme>
</file>

<file path=ppt/theme/theme5.xml><?xml version="1.0" encoding="utf-8"?>
<a:theme xmlns:a="http://schemas.openxmlformats.org/drawingml/2006/main" name="4_Elsevier light">
  <a:themeElements>
    <a:clrScheme name="Elsevier2_0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679E0"/>
      </a:accent1>
      <a:accent2>
        <a:srgbClr val="EB6500"/>
      </a:accent2>
      <a:accent3>
        <a:srgbClr val="8E8E8E"/>
      </a:accent3>
      <a:accent4>
        <a:srgbClr val="CDE4FF"/>
      </a:accent4>
      <a:accent5>
        <a:srgbClr val="FFF0E4"/>
      </a:accent5>
      <a:accent6>
        <a:srgbClr val="DCDCDC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FD9B95B7-7997-4FB9-A47B-A8D416D981DD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759556C186B1642AE0FA0FC2A68DCF8" ma:contentTypeVersion="17" ma:contentTypeDescription="Create a new document." ma:contentTypeScope="" ma:versionID="1ea7286cfefb3de2acfd9800d0c6d297">
  <xsd:schema xmlns:xsd="http://www.w3.org/2001/XMLSchema" xmlns:xs="http://www.w3.org/2001/XMLSchema" xmlns:p="http://schemas.microsoft.com/office/2006/metadata/properties" xmlns:ns2="5d9a5119-d0de-4b00-ad61-4fd357d8f4c5" xmlns:ns3="348a50b2-c90f-43f9-8f0e-4c9cbcd8798e" targetNamespace="http://schemas.microsoft.com/office/2006/metadata/properties" ma:root="true" ma:fieldsID="583bacdb37a4296f693409f0cfe1cc1a" ns2:_="" ns3:_="">
    <xsd:import namespace="5d9a5119-d0de-4b00-ad61-4fd357d8f4c5"/>
    <xsd:import namespace="348a50b2-c90f-43f9-8f0e-4c9cbcd8798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9a5119-d0de-4b00-ad61-4fd357d8f4c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02763e4d-7885-4cd8-8534-835ebc0ece8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8a50b2-c90f-43f9-8f0e-4c9cbcd8798e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18663b1b-b695-4135-a1c0-600da87b6c8c}" ma:internalName="TaxCatchAll" ma:showField="CatchAllData" ma:web="348a50b2-c90f-43f9-8f0e-4c9cbcd8798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48a50b2-c90f-43f9-8f0e-4c9cbcd8798e" xsi:nil="true"/>
    <lcf76f155ced4ddcb4097134ff3c332f xmlns="5d9a5119-d0de-4b00-ad61-4fd357d8f4c5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0E73C0A2-74BD-414F-B9C0-24F3186FE580}"/>
</file>

<file path=customXml/itemProps2.xml><?xml version="1.0" encoding="utf-8"?>
<ds:datastoreItem xmlns:ds="http://schemas.openxmlformats.org/officeDocument/2006/customXml" ds:itemID="{98233065-731C-4EA7-A8AA-605227958549}"/>
</file>

<file path=customXml/itemProps3.xml><?xml version="1.0" encoding="utf-8"?>
<ds:datastoreItem xmlns:ds="http://schemas.openxmlformats.org/officeDocument/2006/customXml" ds:itemID="{132245EF-8F1C-409E-B500-EAD4C6E96801}"/>
</file>

<file path=docMetadata/LabelInfo.xml><?xml version="1.0" encoding="utf-8"?>
<clbl:labelList xmlns:clbl="http://schemas.microsoft.com/office/2020/mipLabelMetadata">
  <clbl:label id="{549ac42a-3eb4-4074-b885-aea26bd6241e}" enabled="1" method="Standard" siteId="{9274ee3f-9425-4109-a27f-9fb15c10675d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Elsevier Light</Template>
  <TotalTime>0</TotalTime>
  <Words>357</Words>
  <Application>Microsoft Office PowerPoint</Application>
  <PresentationFormat>On-screen Show (16:9)</PresentationFormat>
  <Paragraphs>60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1" baseType="lpstr">
      <vt:lpstr>Arial</vt:lpstr>
      <vt:lpstr>Courier New</vt:lpstr>
      <vt:lpstr>Elsevier Display Light</vt:lpstr>
      <vt:lpstr>Georgia</vt:lpstr>
      <vt:lpstr>Segoe UI</vt:lpstr>
      <vt:lpstr>System Font Regular</vt:lpstr>
      <vt:lpstr>Elsevier Light</vt:lpstr>
      <vt:lpstr>Elsevier Dark</vt:lpstr>
      <vt:lpstr>1_Elsevier Light</vt:lpstr>
      <vt:lpstr>3_Elsevier light</vt:lpstr>
      <vt:lpstr>4_Elsevier light</vt:lpstr>
      <vt:lpstr>think-cell Slide</vt:lpstr>
      <vt:lpstr>Named Access</vt:lpstr>
      <vt:lpstr>Appendix</vt:lpstr>
      <vt:lpstr>IP access with required login</vt:lpstr>
      <vt:lpstr>Registration process IP</vt:lpstr>
      <vt:lpstr>Registration process IP access -2</vt:lpstr>
      <vt:lpstr>Required login federated/SSO access </vt:lpstr>
      <vt:lpstr>Personalization process federated access- 1</vt:lpstr>
      <vt:lpstr>Personalization process federated access-2</vt:lpstr>
      <vt:lpstr>Known error messag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cy, Eimear (ELS-HBE)</dc:creator>
  <cp:lastModifiedBy>van Wolven, Christiane (ELS-FRK)</cp:lastModifiedBy>
  <cp:revision>2</cp:revision>
  <dcterms:created xsi:type="dcterms:W3CDTF">2025-04-30T09:00:30Z</dcterms:created>
  <dcterms:modified xsi:type="dcterms:W3CDTF">2026-01-30T14:33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49ac42a-3eb4-4074-b885-aea26bd6241e_Enabled">
    <vt:lpwstr>true</vt:lpwstr>
  </property>
  <property fmtid="{D5CDD505-2E9C-101B-9397-08002B2CF9AE}" pid="3" name="MSIP_Label_549ac42a-3eb4-4074-b885-aea26bd6241e_SetDate">
    <vt:lpwstr>2025-02-28T10:47:49Z</vt:lpwstr>
  </property>
  <property fmtid="{D5CDD505-2E9C-101B-9397-08002B2CF9AE}" pid="4" name="MSIP_Label_549ac42a-3eb4-4074-b885-aea26bd6241e_Method">
    <vt:lpwstr>Standard</vt:lpwstr>
  </property>
  <property fmtid="{D5CDD505-2E9C-101B-9397-08002B2CF9AE}" pid="5" name="MSIP_Label_549ac42a-3eb4-4074-b885-aea26bd6241e_Name">
    <vt:lpwstr>General Business</vt:lpwstr>
  </property>
  <property fmtid="{D5CDD505-2E9C-101B-9397-08002B2CF9AE}" pid="6" name="MSIP_Label_549ac42a-3eb4-4074-b885-aea26bd6241e_SiteId">
    <vt:lpwstr>9274ee3f-9425-4109-a27f-9fb15c10675d</vt:lpwstr>
  </property>
  <property fmtid="{D5CDD505-2E9C-101B-9397-08002B2CF9AE}" pid="7" name="MSIP_Label_549ac42a-3eb4-4074-b885-aea26bd6241e_ActionId">
    <vt:lpwstr>369ce570-4340-40ef-9da0-415c985253cc</vt:lpwstr>
  </property>
  <property fmtid="{D5CDD505-2E9C-101B-9397-08002B2CF9AE}" pid="8" name="MSIP_Label_549ac42a-3eb4-4074-b885-aea26bd6241e_ContentBits">
    <vt:lpwstr>0</vt:lpwstr>
  </property>
  <property fmtid="{D5CDD505-2E9C-101B-9397-08002B2CF9AE}" pid="9" name="MSIP_Label_549ac42a-3eb4-4074-b885-aea26bd6241e_Tag">
    <vt:lpwstr>50, 3, 0, 1</vt:lpwstr>
  </property>
  <property fmtid="{D5CDD505-2E9C-101B-9397-08002B2CF9AE}" pid="10" name="ContentTypeId">
    <vt:lpwstr>0x0101005759556C186B1642AE0FA0FC2A68DCF8</vt:lpwstr>
  </property>
</Properties>
</file>